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notesSlides/notesSlide2.xml" ContentType="application/vnd.openxmlformats-officedocument.presentationml.notesSlide+xml"/>
  <Override PartName="/ppt/charts/chart6.xml" ContentType="application/vnd.openxmlformats-officedocument.drawingml.chart+xml"/>
  <Override PartName="/ppt/theme/themeOverride6.xml" ContentType="application/vnd.openxmlformats-officedocument.themeOverride+xml"/>
  <Override PartName="/ppt/charts/chart7.xml" ContentType="application/vnd.openxmlformats-officedocument.drawingml.chart+xml"/>
  <Override PartName="/ppt/theme/themeOverride7.xml" ContentType="application/vnd.openxmlformats-officedocument.themeOverride+xml"/>
  <Override PartName="/ppt/charts/chart8.xml" ContentType="application/vnd.openxmlformats-officedocument.drawingml.chart+xml"/>
  <Override PartName="/ppt/theme/themeOverride8.xml" ContentType="application/vnd.openxmlformats-officedocument.themeOverride+xml"/>
  <Override PartName="/ppt/charts/chart9.xml" ContentType="application/vnd.openxmlformats-officedocument.drawingml.chart+xml"/>
  <Override PartName="/ppt/theme/themeOverride9.xml" ContentType="application/vnd.openxmlformats-officedocument.themeOverride+xml"/>
  <Override PartName="/ppt/charts/chart10.xml" ContentType="application/vnd.openxmlformats-officedocument.drawingml.chart+xml"/>
  <Override PartName="/ppt/theme/themeOverride10.xml" ContentType="application/vnd.openxmlformats-officedocument.themeOverride+xml"/>
  <Override PartName="/ppt/notesSlides/notesSlide3.xml" ContentType="application/vnd.openxmlformats-officedocument.presentationml.notesSlide+xml"/>
  <Override PartName="/ppt/charts/chart11.xml" ContentType="application/vnd.openxmlformats-officedocument.drawingml.chart+xml"/>
  <Override PartName="/ppt/theme/themeOverride11.xml" ContentType="application/vnd.openxmlformats-officedocument.themeOverride+xml"/>
  <Override PartName="/ppt/charts/chart12.xml" ContentType="application/vnd.openxmlformats-officedocument.drawingml.chart+xml"/>
  <Override PartName="/ppt/theme/themeOverride12.xml" ContentType="application/vnd.openxmlformats-officedocument.themeOverride+xml"/>
  <Override PartName="/ppt/charts/chart13.xml" ContentType="application/vnd.openxmlformats-officedocument.drawingml.chart+xml"/>
  <Override PartName="/ppt/theme/themeOverride13.xml" ContentType="application/vnd.openxmlformats-officedocument.themeOverride+xml"/>
  <Override PartName="/ppt/charts/chart14.xml" ContentType="application/vnd.openxmlformats-officedocument.drawingml.chart+xml"/>
  <Override PartName="/ppt/theme/themeOverride14.xml" ContentType="application/vnd.openxmlformats-officedocument.themeOverride+xml"/>
  <Override PartName="/ppt/charts/chart15.xml" ContentType="application/vnd.openxmlformats-officedocument.drawingml.chart+xml"/>
  <Override PartName="/ppt/theme/themeOverride15.xml" ContentType="application/vnd.openxmlformats-officedocument.themeOverride+xml"/>
  <Override PartName="/ppt/notesSlides/notesSlide4.xml" ContentType="application/vnd.openxmlformats-officedocument.presentationml.notesSlide+xml"/>
  <Override PartName="/ppt/charts/chart16.xml" ContentType="application/vnd.openxmlformats-officedocument.drawingml.chart+xml"/>
  <Override PartName="/ppt/theme/themeOverride16.xml" ContentType="application/vnd.openxmlformats-officedocument.themeOverride+xml"/>
  <Override PartName="/ppt/charts/chart17.xml" ContentType="application/vnd.openxmlformats-officedocument.drawingml.chart+xml"/>
  <Override PartName="/ppt/theme/themeOverride17.xml" ContentType="application/vnd.openxmlformats-officedocument.themeOverride+xml"/>
  <Override PartName="/ppt/charts/chart18.xml" ContentType="application/vnd.openxmlformats-officedocument.drawingml.chart+xml"/>
  <Override PartName="/ppt/theme/themeOverride18.xml" ContentType="application/vnd.openxmlformats-officedocument.themeOverride+xml"/>
  <Override PartName="/ppt/charts/chart19.xml" ContentType="application/vnd.openxmlformats-officedocument.drawingml.chart+xml"/>
  <Override PartName="/ppt/theme/themeOverride19.xml" ContentType="application/vnd.openxmlformats-officedocument.themeOverride+xml"/>
  <Override PartName="/ppt/charts/chart20.xml" ContentType="application/vnd.openxmlformats-officedocument.drawingml.chart+xml"/>
  <Override PartName="/ppt/theme/themeOverride20.xml" ContentType="application/vnd.openxmlformats-officedocument.themeOverride+xml"/>
  <Override PartName="/ppt/notesSlides/notesSlide5.xml" ContentType="application/vnd.openxmlformats-officedocument.presentationml.notesSlide+xml"/>
  <Override PartName="/ppt/charts/chart21.xml" ContentType="application/vnd.openxmlformats-officedocument.drawingml.chart+xml"/>
  <Override PartName="/ppt/theme/themeOverride21.xml" ContentType="application/vnd.openxmlformats-officedocument.themeOverride+xml"/>
  <Override PartName="/ppt/charts/chart22.xml" ContentType="application/vnd.openxmlformats-officedocument.drawingml.chart+xml"/>
  <Override PartName="/ppt/theme/themeOverride22.xml" ContentType="application/vnd.openxmlformats-officedocument.themeOverride+xml"/>
  <Override PartName="/ppt/charts/chart23.xml" ContentType="application/vnd.openxmlformats-officedocument.drawingml.chart+xml"/>
  <Override PartName="/ppt/theme/themeOverride23.xml" ContentType="application/vnd.openxmlformats-officedocument.themeOverride+xml"/>
  <Override PartName="/ppt/charts/chart24.xml" ContentType="application/vnd.openxmlformats-officedocument.drawingml.chart+xml"/>
  <Override PartName="/ppt/theme/themeOverride24.xml" ContentType="application/vnd.openxmlformats-officedocument.themeOverride+xml"/>
  <Override PartName="/ppt/charts/chart25.xml" ContentType="application/vnd.openxmlformats-officedocument.drawingml.chart+xml"/>
  <Override PartName="/ppt/theme/themeOverride25.xml" ContentType="application/vnd.openxmlformats-officedocument.themeOverride+xml"/>
  <Override PartName="/ppt/notesSlides/notesSlide6.xml" ContentType="application/vnd.openxmlformats-officedocument.presentationml.notesSlide+xml"/>
  <Override PartName="/ppt/charts/chart26.xml" ContentType="application/vnd.openxmlformats-officedocument.drawingml.chart+xml"/>
  <Override PartName="/ppt/theme/themeOverride26.xml" ContentType="application/vnd.openxmlformats-officedocument.themeOverride+xml"/>
  <Override PartName="/ppt/charts/chart27.xml" ContentType="application/vnd.openxmlformats-officedocument.drawingml.chart+xml"/>
  <Override PartName="/ppt/theme/themeOverride27.xml" ContentType="application/vnd.openxmlformats-officedocument.themeOverride+xml"/>
  <Override PartName="/ppt/charts/chart28.xml" ContentType="application/vnd.openxmlformats-officedocument.drawingml.chart+xml"/>
  <Override PartName="/ppt/theme/themeOverride28.xml" ContentType="application/vnd.openxmlformats-officedocument.themeOverride+xml"/>
  <Override PartName="/ppt/charts/chart29.xml" ContentType="application/vnd.openxmlformats-officedocument.drawingml.chart+xml"/>
  <Override PartName="/ppt/theme/themeOverride29.xml" ContentType="application/vnd.openxmlformats-officedocument.themeOverride+xml"/>
  <Override PartName="/ppt/charts/chart30.xml" ContentType="application/vnd.openxmlformats-officedocument.drawingml.chart+xml"/>
  <Override PartName="/ppt/theme/themeOverride30.xml" ContentType="application/vnd.openxmlformats-officedocument.themeOverride+xml"/>
  <Override PartName="/ppt/notesSlides/notesSlide7.xml" ContentType="application/vnd.openxmlformats-officedocument.presentationml.notesSlide+xml"/>
  <Override PartName="/ppt/charts/chart31.xml" ContentType="application/vnd.openxmlformats-officedocument.drawingml.chart+xml"/>
  <Override PartName="/ppt/theme/themeOverride31.xml" ContentType="application/vnd.openxmlformats-officedocument.themeOverride+xml"/>
  <Override PartName="/ppt/charts/chart32.xml" ContentType="application/vnd.openxmlformats-officedocument.drawingml.chart+xml"/>
  <Override PartName="/ppt/theme/themeOverride32.xml" ContentType="application/vnd.openxmlformats-officedocument.themeOverride+xml"/>
  <Override PartName="/ppt/charts/chart33.xml" ContentType="application/vnd.openxmlformats-officedocument.drawingml.chart+xml"/>
  <Override PartName="/ppt/theme/themeOverride33.xml" ContentType="application/vnd.openxmlformats-officedocument.themeOverride+xml"/>
  <Override PartName="/ppt/charts/chart34.xml" ContentType="application/vnd.openxmlformats-officedocument.drawingml.chart+xml"/>
  <Override PartName="/ppt/theme/themeOverride34.xml" ContentType="application/vnd.openxmlformats-officedocument.themeOverride+xml"/>
  <Override PartName="/ppt/charts/chart35.xml" ContentType="application/vnd.openxmlformats-officedocument.drawingml.chart+xml"/>
  <Override PartName="/ppt/theme/themeOverride35.xml" ContentType="application/vnd.openxmlformats-officedocument.themeOverride+xml"/>
  <Override PartName="/ppt/notesSlides/notesSlide8.xml" ContentType="application/vnd.openxmlformats-officedocument.presentationml.notesSlide+xml"/>
  <Override PartName="/ppt/charts/chart36.xml" ContentType="application/vnd.openxmlformats-officedocument.drawingml.chart+xml"/>
  <Override PartName="/ppt/theme/themeOverride36.xml" ContentType="application/vnd.openxmlformats-officedocument.themeOverride+xml"/>
  <Override PartName="/ppt/charts/chart37.xml" ContentType="application/vnd.openxmlformats-officedocument.drawingml.chart+xml"/>
  <Override PartName="/ppt/theme/themeOverride37.xml" ContentType="application/vnd.openxmlformats-officedocument.themeOverride+xml"/>
  <Override PartName="/ppt/charts/chart38.xml" ContentType="application/vnd.openxmlformats-officedocument.drawingml.chart+xml"/>
  <Override PartName="/ppt/theme/themeOverride38.xml" ContentType="application/vnd.openxmlformats-officedocument.themeOverride+xml"/>
  <Override PartName="/ppt/charts/chart39.xml" ContentType="application/vnd.openxmlformats-officedocument.drawingml.chart+xml"/>
  <Override PartName="/ppt/theme/themeOverride39.xml" ContentType="application/vnd.openxmlformats-officedocument.themeOverride+xml"/>
  <Override PartName="/ppt/charts/chart40.xml" ContentType="application/vnd.openxmlformats-officedocument.drawingml.chart+xml"/>
  <Override PartName="/ppt/theme/themeOverride40.xml" ContentType="application/vnd.openxmlformats-officedocument.themeOverride+xml"/>
  <Override PartName="/ppt/notesSlides/notesSlide9.xml" ContentType="application/vnd.openxmlformats-officedocument.presentationml.notesSlide+xml"/>
  <Override PartName="/ppt/charts/chart41.xml" ContentType="application/vnd.openxmlformats-officedocument.drawingml.chart+xml"/>
  <Override PartName="/ppt/theme/themeOverride41.xml" ContentType="application/vnd.openxmlformats-officedocument.themeOverride+xml"/>
  <Override PartName="/ppt/charts/chart42.xml" ContentType="application/vnd.openxmlformats-officedocument.drawingml.chart+xml"/>
  <Override PartName="/ppt/theme/themeOverride42.xml" ContentType="application/vnd.openxmlformats-officedocument.themeOverride+xml"/>
  <Override PartName="/ppt/charts/chart43.xml" ContentType="application/vnd.openxmlformats-officedocument.drawingml.chart+xml"/>
  <Override PartName="/ppt/theme/themeOverride43.xml" ContentType="application/vnd.openxmlformats-officedocument.themeOverride+xml"/>
  <Override PartName="/ppt/charts/chart44.xml" ContentType="application/vnd.openxmlformats-officedocument.drawingml.chart+xml"/>
  <Override PartName="/ppt/theme/themeOverride44.xml" ContentType="application/vnd.openxmlformats-officedocument.themeOverride+xml"/>
  <Override PartName="/ppt/charts/chart45.xml" ContentType="application/vnd.openxmlformats-officedocument.drawingml.chart+xml"/>
  <Override PartName="/ppt/theme/themeOverride45.xml" ContentType="application/vnd.openxmlformats-officedocument.themeOverride+xml"/>
  <Override PartName="/ppt/notesSlides/notesSlide10.xml" ContentType="application/vnd.openxmlformats-officedocument.presentationml.notesSlide+xml"/>
  <Override PartName="/ppt/charts/chart46.xml" ContentType="application/vnd.openxmlformats-officedocument.drawingml.chart+xml"/>
  <Override PartName="/ppt/theme/themeOverride46.xml" ContentType="application/vnd.openxmlformats-officedocument.themeOverride+xml"/>
  <Override PartName="/ppt/charts/chart47.xml" ContentType="application/vnd.openxmlformats-officedocument.drawingml.chart+xml"/>
  <Override PartName="/ppt/theme/themeOverride47.xml" ContentType="application/vnd.openxmlformats-officedocument.themeOverride+xml"/>
  <Override PartName="/ppt/charts/chart48.xml" ContentType="application/vnd.openxmlformats-officedocument.drawingml.chart+xml"/>
  <Override PartName="/ppt/theme/themeOverride48.xml" ContentType="application/vnd.openxmlformats-officedocument.themeOverride+xml"/>
  <Override PartName="/ppt/charts/chart49.xml" ContentType="application/vnd.openxmlformats-officedocument.drawingml.chart+xml"/>
  <Override PartName="/ppt/theme/themeOverride49.xml" ContentType="application/vnd.openxmlformats-officedocument.themeOverride+xml"/>
  <Override PartName="/ppt/charts/chart50.xml" ContentType="application/vnd.openxmlformats-officedocument.drawingml.chart+xml"/>
  <Override PartName="/ppt/theme/themeOverride50.xml" ContentType="application/vnd.openxmlformats-officedocument.themeOverride+xml"/>
  <Override PartName="/ppt/notesSlides/notesSlide11.xml" ContentType="application/vnd.openxmlformats-officedocument.presentationml.notesSlide+xml"/>
  <Override PartName="/ppt/charts/chart51.xml" ContentType="application/vnd.openxmlformats-officedocument.drawingml.chart+xml"/>
  <Override PartName="/ppt/theme/themeOverride51.xml" ContentType="application/vnd.openxmlformats-officedocument.themeOverride+xml"/>
  <Override PartName="/ppt/charts/chart52.xml" ContentType="application/vnd.openxmlformats-officedocument.drawingml.chart+xml"/>
  <Override PartName="/ppt/theme/themeOverride52.xml" ContentType="application/vnd.openxmlformats-officedocument.themeOverride+xml"/>
  <Override PartName="/ppt/charts/chart53.xml" ContentType="application/vnd.openxmlformats-officedocument.drawingml.chart+xml"/>
  <Override PartName="/ppt/theme/themeOverride53.xml" ContentType="application/vnd.openxmlformats-officedocument.themeOverride+xml"/>
  <Override PartName="/ppt/charts/chart54.xml" ContentType="application/vnd.openxmlformats-officedocument.drawingml.chart+xml"/>
  <Override PartName="/ppt/theme/themeOverride54.xml" ContentType="application/vnd.openxmlformats-officedocument.themeOverride+xml"/>
  <Override PartName="/ppt/charts/chart55.xml" ContentType="application/vnd.openxmlformats-officedocument.drawingml.chart+xml"/>
  <Override PartName="/ppt/theme/themeOverride55.xml" ContentType="application/vnd.openxmlformats-officedocument.themeOverride+xml"/>
  <Override PartName="/ppt/notesSlides/notesSlide12.xml" ContentType="application/vnd.openxmlformats-officedocument.presentationml.notesSlide+xml"/>
  <Override PartName="/ppt/charts/chart56.xml" ContentType="application/vnd.openxmlformats-officedocument.drawingml.chart+xml"/>
  <Override PartName="/ppt/theme/themeOverride56.xml" ContentType="application/vnd.openxmlformats-officedocument.themeOverride+xml"/>
  <Override PartName="/ppt/charts/chart57.xml" ContentType="application/vnd.openxmlformats-officedocument.drawingml.chart+xml"/>
  <Override PartName="/ppt/theme/themeOverride57.xml" ContentType="application/vnd.openxmlformats-officedocument.themeOverride+xml"/>
  <Override PartName="/ppt/charts/chart58.xml" ContentType="application/vnd.openxmlformats-officedocument.drawingml.chart+xml"/>
  <Override PartName="/ppt/theme/themeOverride58.xml" ContentType="application/vnd.openxmlformats-officedocument.themeOverride+xml"/>
  <Override PartName="/ppt/charts/chart59.xml" ContentType="application/vnd.openxmlformats-officedocument.drawingml.chart+xml"/>
  <Override PartName="/ppt/theme/themeOverride59.xml" ContentType="application/vnd.openxmlformats-officedocument.themeOverride+xml"/>
  <Override PartName="/ppt/charts/chart60.xml" ContentType="application/vnd.openxmlformats-officedocument.drawingml.chart+xml"/>
  <Override PartName="/ppt/theme/themeOverride60.xml" ContentType="application/vnd.openxmlformats-officedocument.themeOverride+xml"/>
  <Override PartName="/ppt/notesSlides/notesSlide13.xml" ContentType="application/vnd.openxmlformats-officedocument.presentationml.notesSlide+xml"/>
  <Override PartName="/ppt/charts/chart61.xml" ContentType="application/vnd.openxmlformats-officedocument.drawingml.chart+xml"/>
  <Override PartName="/ppt/theme/themeOverride61.xml" ContentType="application/vnd.openxmlformats-officedocument.themeOverride+xml"/>
  <Override PartName="/ppt/charts/chart62.xml" ContentType="application/vnd.openxmlformats-officedocument.drawingml.chart+xml"/>
  <Override PartName="/ppt/theme/themeOverride62.xml" ContentType="application/vnd.openxmlformats-officedocument.themeOverride+xml"/>
  <Override PartName="/ppt/charts/chart63.xml" ContentType="application/vnd.openxmlformats-officedocument.drawingml.chart+xml"/>
  <Override PartName="/ppt/theme/themeOverride63.xml" ContentType="application/vnd.openxmlformats-officedocument.themeOverride+xml"/>
  <Override PartName="/ppt/charts/chart64.xml" ContentType="application/vnd.openxmlformats-officedocument.drawingml.chart+xml"/>
  <Override PartName="/ppt/theme/themeOverride64.xml" ContentType="application/vnd.openxmlformats-officedocument.themeOverride+xml"/>
  <Override PartName="/ppt/charts/chart65.xml" ContentType="application/vnd.openxmlformats-officedocument.drawingml.chart+xml"/>
  <Override PartName="/ppt/theme/themeOverride65.xml" ContentType="application/vnd.openxmlformats-officedocument.themeOverride+xml"/>
  <Override PartName="/ppt/notesSlides/notesSlide14.xml" ContentType="application/vnd.openxmlformats-officedocument.presentationml.notesSlide+xml"/>
  <Override PartName="/ppt/charts/chart66.xml" ContentType="application/vnd.openxmlformats-officedocument.drawingml.chart+xml"/>
  <Override PartName="/ppt/theme/themeOverride66.xml" ContentType="application/vnd.openxmlformats-officedocument.themeOverride+xml"/>
  <Override PartName="/ppt/charts/chart67.xml" ContentType="application/vnd.openxmlformats-officedocument.drawingml.chart+xml"/>
  <Override PartName="/ppt/theme/themeOverride67.xml" ContentType="application/vnd.openxmlformats-officedocument.themeOverride+xml"/>
  <Override PartName="/ppt/charts/chart68.xml" ContentType="application/vnd.openxmlformats-officedocument.drawingml.chart+xml"/>
  <Override PartName="/ppt/theme/themeOverride68.xml" ContentType="application/vnd.openxmlformats-officedocument.themeOverride+xml"/>
  <Override PartName="/ppt/charts/chart69.xml" ContentType="application/vnd.openxmlformats-officedocument.drawingml.chart+xml"/>
  <Override PartName="/ppt/theme/themeOverride69.xml" ContentType="application/vnd.openxmlformats-officedocument.themeOverride+xml"/>
  <Override PartName="/ppt/charts/chart70.xml" ContentType="application/vnd.openxmlformats-officedocument.drawingml.chart+xml"/>
  <Override PartName="/ppt/theme/themeOverride70.xml" ContentType="application/vnd.openxmlformats-officedocument.themeOverride+xml"/>
  <Override PartName="/ppt/notesSlides/notesSlide15.xml" ContentType="application/vnd.openxmlformats-officedocument.presentationml.notesSlide+xml"/>
  <Override PartName="/ppt/charts/chart71.xml" ContentType="application/vnd.openxmlformats-officedocument.drawingml.chart+xml"/>
  <Override PartName="/ppt/theme/themeOverride71.xml" ContentType="application/vnd.openxmlformats-officedocument.themeOverride+xml"/>
  <Override PartName="/ppt/charts/chart72.xml" ContentType="application/vnd.openxmlformats-officedocument.drawingml.chart+xml"/>
  <Override PartName="/ppt/theme/themeOverride72.xml" ContentType="application/vnd.openxmlformats-officedocument.themeOverride+xml"/>
  <Override PartName="/ppt/charts/chart73.xml" ContentType="application/vnd.openxmlformats-officedocument.drawingml.chart+xml"/>
  <Override PartName="/ppt/theme/themeOverride73.xml" ContentType="application/vnd.openxmlformats-officedocument.themeOverride+xml"/>
  <Override PartName="/ppt/charts/chart74.xml" ContentType="application/vnd.openxmlformats-officedocument.drawingml.chart+xml"/>
  <Override PartName="/ppt/theme/themeOverride74.xml" ContentType="application/vnd.openxmlformats-officedocument.themeOverride+xml"/>
  <Override PartName="/ppt/charts/chart75.xml" ContentType="application/vnd.openxmlformats-officedocument.drawingml.chart+xml"/>
  <Override PartName="/ppt/theme/themeOverride75.xml" ContentType="application/vnd.openxmlformats-officedocument.themeOverride+xml"/>
  <Override PartName="/ppt/notesSlides/notesSlide16.xml" ContentType="application/vnd.openxmlformats-officedocument.presentationml.notesSlide+xml"/>
  <Override PartName="/ppt/charts/chart76.xml" ContentType="application/vnd.openxmlformats-officedocument.drawingml.chart+xml"/>
  <Override PartName="/ppt/theme/themeOverride76.xml" ContentType="application/vnd.openxmlformats-officedocument.themeOverride+xml"/>
  <Override PartName="/ppt/charts/chart77.xml" ContentType="application/vnd.openxmlformats-officedocument.drawingml.chart+xml"/>
  <Override PartName="/ppt/theme/themeOverride77.xml" ContentType="application/vnd.openxmlformats-officedocument.themeOverride+xml"/>
  <Override PartName="/ppt/charts/chart78.xml" ContentType="application/vnd.openxmlformats-officedocument.drawingml.chart+xml"/>
  <Override PartName="/ppt/theme/themeOverride78.xml" ContentType="application/vnd.openxmlformats-officedocument.themeOverride+xml"/>
  <Override PartName="/ppt/charts/chart79.xml" ContentType="application/vnd.openxmlformats-officedocument.drawingml.chart+xml"/>
  <Override PartName="/ppt/theme/themeOverride79.xml" ContentType="application/vnd.openxmlformats-officedocument.themeOverride+xml"/>
  <Override PartName="/ppt/charts/chart80.xml" ContentType="application/vnd.openxmlformats-officedocument.drawingml.chart+xml"/>
  <Override PartName="/ppt/theme/themeOverride80.xml" ContentType="application/vnd.openxmlformats-officedocument.themeOverride+xml"/>
  <Override PartName="/ppt/notesSlides/notesSlide17.xml" ContentType="application/vnd.openxmlformats-officedocument.presentationml.notesSlide+xml"/>
  <Override PartName="/ppt/charts/chart81.xml" ContentType="application/vnd.openxmlformats-officedocument.drawingml.chart+xml"/>
  <Override PartName="/ppt/theme/themeOverride81.xml" ContentType="application/vnd.openxmlformats-officedocument.themeOverride+xml"/>
  <Override PartName="/ppt/charts/chart82.xml" ContentType="application/vnd.openxmlformats-officedocument.drawingml.chart+xml"/>
  <Override PartName="/ppt/theme/themeOverride82.xml" ContentType="application/vnd.openxmlformats-officedocument.themeOverride+xml"/>
  <Override PartName="/ppt/charts/chart83.xml" ContentType="application/vnd.openxmlformats-officedocument.drawingml.chart+xml"/>
  <Override PartName="/ppt/theme/themeOverride83.xml" ContentType="application/vnd.openxmlformats-officedocument.themeOverride+xml"/>
  <Override PartName="/ppt/charts/chart84.xml" ContentType="application/vnd.openxmlformats-officedocument.drawingml.chart+xml"/>
  <Override PartName="/ppt/theme/themeOverride84.xml" ContentType="application/vnd.openxmlformats-officedocument.themeOverride+xml"/>
  <Override PartName="/ppt/charts/chart85.xml" ContentType="application/vnd.openxmlformats-officedocument.drawingml.chart+xml"/>
  <Override PartName="/ppt/theme/themeOverride85.xml" ContentType="application/vnd.openxmlformats-officedocument.themeOverride+xml"/>
  <Override PartName="/ppt/notesSlides/notesSlide18.xml" ContentType="application/vnd.openxmlformats-officedocument.presentationml.notesSlide+xml"/>
  <Override PartName="/ppt/charts/chart86.xml" ContentType="application/vnd.openxmlformats-officedocument.drawingml.chart+xml"/>
  <Override PartName="/ppt/theme/themeOverride86.xml" ContentType="application/vnd.openxmlformats-officedocument.themeOverride+xml"/>
  <Override PartName="/ppt/charts/chart87.xml" ContentType="application/vnd.openxmlformats-officedocument.drawingml.chart+xml"/>
  <Override PartName="/ppt/theme/themeOverride87.xml" ContentType="application/vnd.openxmlformats-officedocument.themeOverride+xml"/>
  <Override PartName="/ppt/charts/chart88.xml" ContentType="application/vnd.openxmlformats-officedocument.drawingml.chart+xml"/>
  <Override PartName="/ppt/theme/themeOverride88.xml" ContentType="application/vnd.openxmlformats-officedocument.themeOverride+xml"/>
  <Override PartName="/ppt/charts/chart89.xml" ContentType="application/vnd.openxmlformats-officedocument.drawingml.chart+xml"/>
  <Override PartName="/ppt/theme/themeOverride89.xml" ContentType="application/vnd.openxmlformats-officedocument.themeOverride+xml"/>
  <Override PartName="/ppt/charts/chart90.xml" ContentType="application/vnd.openxmlformats-officedocument.drawingml.chart+xml"/>
  <Override PartName="/ppt/theme/themeOverride90.xml" ContentType="application/vnd.openxmlformats-officedocument.themeOverride+xml"/>
  <Override PartName="/ppt/notesSlides/notesSlide19.xml" ContentType="application/vnd.openxmlformats-officedocument.presentationml.notesSlide+xml"/>
  <Override PartName="/ppt/charts/chart91.xml" ContentType="application/vnd.openxmlformats-officedocument.drawingml.chart+xml"/>
  <Override PartName="/ppt/theme/themeOverride91.xml" ContentType="application/vnd.openxmlformats-officedocument.themeOverride+xml"/>
  <Override PartName="/ppt/charts/chart92.xml" ContentType="application/vnd.openxmlformats-officedocument.drawingml.chart+xml"/>
  <Override PartName="/ppt/theme/themeOverride92.xml" ContentType="application/vnd.openxmlformats-officedocument.themeOverride+xml"/>
  <Override PartName="/ppt/charts/chart93.xml" ContentType="application/vnd.openxmlformats-officedocument.drawingml.chart+xml"/>
  <Override PartName="/ppt/theme/themeOverride93.xml" ContentType="application/vnd.openxmlformats-officedocument.themeOverride+xml"/>
  <Override PartName="/ppt/charts/chart94.xml" ContentType="application/vnd.openxmlformats-officedocument.drawingml.chart+xml"/>
  <Override PartName="/ppt/theme/themeOverride94.xml" ContentType="application/vnd.openxmlformats-officedocument.themeOverride+xml"/>
  <Override PartName="/ppt/charts/chart95.xml" ContentType="application/vnd.openxmlformats-officedocument.drawingml.chart+xml"/>
  <Override PartName="/ppt/theme/themeOverride95.xml" ContentType="application/vnd.openxmlformats-officedocument.themeOverride+xml"/>
  <Override PartName="/ppt/notesSlides/notesSlide20.xml" ContentType="application/vnd.openxmlformats-officedocument.presentationml.notesSlide+xml"/>
  <Override PartName="/ppt/charts/chart96.xml" ContentType="application/vnd.openxmlformats-officedocument.drawingml.chart+xml"/>
  <Override PartName="/ppt/theme/themeOverride96.xml" ContentType="application/vnd.openxmlformats-officedocument.themeOverride+xml"/>
  <Override PartName="/ppt/charts/chart97.xml" ContentType="application/vnd.openxmlformats-officedocument.drawingml.chart+xml"/>
  <Override PartName="/ppt/theme/themeOverride97.xml" ContentType="application/vnd.openxmlformats-officedocument.themeOverride+xml"/>
  <Override PartName="/ppt/charts/chart98.xml" ContentType="application/vnd.openxmlformats-officedocument.drawingml.chart+xml"/>
  <Override PartName="/ppt/theme/themeOverride98.xml" ContentType="application/vnd.openxmlformats-officedocument.themeOverride+xml"/>
  <Override PartName="/ppt/charts/chart99.xml" ContentType="application/vnd.openxmlformats-officedocument.drawingml.chart+xml"/>
  <Override PartName="/ppt/theme/themeOverride99.xml" ContentType="application/vnd.openxmlformats-officedocument.themeOverride+xml"/>
  <Override PartName="/ppt/charts/chart100.xml" ContentType="application/vnd.openxmlformats-officedocument.drawingml.chart+xml"/>
  <Override PartName="/ppt/theme/themeOverride100.xml" ContentType="application/vnd.openxmlformats-officedocument.themeOverride+xml"/>
  <Override PartName="/ppt/notesSlides/notesSlide21.xml" ContentType="application/vnd.openxmlformats-officedocument.presentationml.notesSlide+xml"/>
  <Override PartName="/ppt/charts/chart101.xml" ContentType="application/vnd.openxmlformats-officedocument.drawingml.chart+xml"/>
  <Override PartName="/ppt/theme/themeOverride101.xml" ContentType="application/vnd.openxmlformats-officedocument.themeOverride+xml"/>
  <Override PartName="/ppt/charts/chart102.xml" ContentType="application/vnd.openxmlformats-officedocument.drawingml.chart+xml"/>
  <Override PartName="/ppt/theme/themeOverride102.xml" ContentType="application/vnd.openxmlformats-officedocument.themeOverride+xml"/>
  <Override PartName="/ppt/charts/chart103.xml" ContentType="application/vnd.openxmlformats-officedocument.drawingml.chart+xml"/>
  <Override PartName="/ppt/theme/themeOverride103.xml" ContentType="application/vnd.openxmlformats-officedocument.themeOverride+xml"/>
  <Override PartName="/ppt/charts/chart104.xml" ContentType="application/vnd.openxmlformats-officedocument.drawingml.chart+xml"/>
  <Override PartName="/ppt/theme/themeOverride104.xml" ContentType="application/vnd.openxmlformats-officedocument.themeOverride+xml"/>
  <Override PartName="/ppt/charts/chart105.xml" ContentType="application/vnd.openxmlformats-officedocument.drawingml.chart+xml"/>
  <Override PartName="/ppt/theme/themeOverride105.xml" ContentType="application/vnd.openxmlformats-officedocument.themeOverride+xml"/>
  <Override PartName="/ppt/notesSlides/notesSlide22.xml" ContentType="application/vnd.openxmlformats-officedocument.presentationml.notesSlide+xml"/>
  <Override PartName="/ppt/charts/chart106.xml" ContentType="application/vnd.openxmlformats-officedocument.drawingml.chart+xml"/>
  <Override PartName="/ppt/theme/themeOverride106.xml" ContentType="application/vnd.openxmlformats-officedocument.themeOverride+xml"/>
  <Override PartName="/ppt/charts/chart107.xml" ContentType="application/vnd.openxmlformats-officedocument.drawingml.chart+xml"/>
  <Override PartName="/ppt/theme/themeOverride107.xml" ContentType="application/vnd.openxmlformats-officedocument.themeOverride+xml"/>
  <Override PartName="/ppt/notesSlides/notesSlide23.xml" ContentType="application/vnd.openxmlformats-officedocument.presentationml.notesSlide+xml"/>
  <Override PartName="/ppt/charts/chart108.xml" ContentType="application/vnd.openxmlformats-officedocument.drawingml.chart+xml"/>
  <Override PartName="/ppt/theme/themeOverride108.xml" ContentType="application/vnd.openxmlformats-officedocument.themeOverride+xml"/>
  <Override PartName="/ppt/charts/chart109.xml" ContentType="application/vnd.openxmlformats-officedocument.drawingml.chart+xml"/>
  <Override PartName="/ppt/theme/themeOverride109.xml" ContentType="application/vnd.openxmlformats-officedocument.themeOverride+xml"/>
  <Override PartName="/ppt/notesSlides/notesSlide24.xml" ContentType="application/vnd.openxmlformats-officedocument.presentationml.notesSlide+xml"/>
  <Override PartName="/ppt/charts/chart110.xml" ContentType="application/vnd.openxmlformats-officedocument.drawingml.chart+xml"/>
  <Override PartName="/ppt/theme/themeOverride110.xml" ContentType="application/vnd.openxmlformats-officedocument.themeOverride+xml"/>
  <Override PartName="/ppt/charts/chart111.xml" ContentType="application/vnd.openxmlformats-officedocument.drawingml.chart+xml"/>
  <Override PartName="/ppt/theme/themeOverride111.xml" ContentType="application/vnd.openxmlformats-officedocument.themeOverride+xml"/>
  <Override PartName="/ppt/notesSlides/notesSlide25.xml" ContentType="application/vnd.openxmlformats-officedocument.presentationml.notesSlide+xml"/>
  <Override PartName="/ppt/charts/chart112.xml" ContentType="application/vnd.openxmlformats-officedocument.drawingml.chart+xml"/>
  <Override PartName="/ppt/theme/themeOverride112.xml" ContentType="application/vnd.openxmlformats-officedocument.themeOverride+xml"/>
  <Override PartName="/ppt/charts/chart113.xml" ContentType="application/vnd.openxmlformats-officedocument.drawingml.chart+xml"/>
  <Override PartName="/ppt/theme/themeOverride113.xml" ContentType="application/vnd.openxmlformats-officedocument.themeOverride+xml"/>
  <Override PartName="/ppt/notesSlides/notesSlide26.xml" ContentType="application/vnd.openxmlformats-officedocument.presentationml.notesSlide+xml"/>
  <Override PartName="/ppt/charts/chart114.xml" ContentType="application/vnd.openxmlformats-officedocument.drawingml.chart+xml"/>
  <Override PartName="/ppt/theme/themeOverride114.xml" ContentType="application/vnd.openxmlformats-officedocument.themeOverride+xml"/>
  <Override PartName="/ppt/charts/chart115.xml" ContentType="application/vnd.openxmlformats-officedocument.drawingml.chart+xml"/>
  <Override PartName="/ppt/theme/themeOverride115.xml" ContentType="application/vnd.openxmlformats-officedocument.themeOverride+xml"/>
  <Override PartName="/ppt/notesSlides/notesSlide27.xml" ContentType="application/vnd.openxmlformats-officedocument.presentationml.notesSlide+xml"/>
  <Override PartName="/ppt/charts/chart116.xml" ContentType="application/vnd.openxmlformats-officedocument.drawingml.chart+xml"/>
  <Override PartName="/ppt/theme/themeOverride116.xml" ContentType="application/vnd.openxmlformats-officedocument.themeOverride+xml"/>
  <Override PartName="/ppt/charts/chart117.xml" ContentType="application/vnd.openxmlformats-officedocument.drawingml.chart+xml"/>
  <Override PartName="/ppt/theme/themeOverride117.xml" ContentType="application/vnd.openxmlformats-officedocument.themeOverride+xml"/>
  <Override PartName="/ppt/notesSlides/notesSlide28.xml" ContentType="application/vnd.openxmlformats-officedocument.presentationml.notesSlide+xml"/>
  <Override PartName="/ppt/charts/chart118.xml" ContentType="application/vnd.openxmlformats-officedocument.drawingml.chart+xml"/>
  <Override PartName="/ppt/theme/themeOverride118.xml" ContentType="application/vnd.openxmlformats-officedocument.themeOverride+xml"/>
  <Override PartName="/ppt/charts/chart119.xml" ContentType="application/vnd.openxmlformats-officedocument.drawingml.chart+xml"/>
  <Override PartName="/ppt/theme/themeOverride119.xml" ContentType="application/vnd.openxmlformats-officedocument.themeOverride+xml"/>
  <Override PartName="/ppt/notesSlides/notesSlide29.xml" ContentType="application/vnd.openxmlformats-officedocument.presentationml.notesSlide+xml"/>
  <Override PartName="/ppt/charts/chart120.xml" ContentType="application/vnd.openxmlformats-officedocument.drawingml.chart+xml"/>
  <Override PartName="/ppt/theme/themeOverride120.xml" ContentType="application/vnd.openxmlformats-officedocument.themeOverride+xml"/>
  <Override PartName="/ppt/charts/chart121.xml" ContentType="application/vnd.openxmlformats-officedocument.drawingml.chart+xml"/>
  <Override PartName="/ppt/theme/themeOverride121.xml" ContentType="application/vnd.openxmlformats-officedocument.themeOverride+xml"/>
  <Override PartName="/ppt/notesSlides/notesSlide30.xml" ContentType="application/vnd.openxmlformats-officedocument.presentationml.notesSlide+xml"/>
  <Override PartName="/ppt/charts/chart122.xml" ContentType="application/vnd.openxmlformats-officedocument.drawingml.chart+xml"/>
  <Override PartName="/ppt/theme/themeOverride122.xml" ContentType="application/vnd.openxmlformats-officedocument.themeOverride+xml"/>
  <Override PartName="/ppt/charts/chart123.xml" ContentType="application/vnd.openxmlformats-officedocument.drawingml.chart+xml"/>
  <Override PartName="/ppt/theme/themeOverride123.xml" ContentType="application/vnd.openxmlformats-officedocument.themeOverride+xml"/>
  <Override PartName="/ppt/notesSlides/notesSlide31.xml" ContentType="application/vnd.openxmlformats-officedocument.presentationml.notesSlide+xml"/>
  <Override PartName="/ppt/charts/chart124.xml" ContentType="application/vnd.openxmlformats-officedocument.drawingml.chart+xml"/>
  <Override PartName="/ppt/theme/themeOverride124.xml" ContentType="application/vnd.openxmlformats-officedocument.themeOverride+xml"/>
  <Override PartName="/ppt/charts/chart125.xml" ContentType="application/vnd.openxmlformats-officedocument.drawingml.chart+xml"/>
  <Override PartName="/ppt/theme/themeOverride125.xml" ContentType="application/vnd.openxmlformats-officedocument.themeOverride+xml"/>
  <Override PartName="/ppt/notesSlides/notesSlide32.xml" ContentType="application/vnd.openxmlformats-officedocument.presentationml.notesSlide+xml"/>
  <Override PartName="/ppt/charts/chart126.xml" ContentType="application/vnd.openxmlformats-officedocument.drawingml.chart+xml"/>
  <Override PartName="/ppt/theme/themeOverride126.xml" ContentType="application/vnd.openxmlformats-officedocument.themeOverride+xml"/>
  <Override PartName="/ppt/charts/chart127.xml" ContentType="application/vnd.openxmlformats-officedocument.drawingml.chart+xml"/>
  <Override PartName="/ppt/theme/themeOverride127.xml" ContentType="application/vnd.openxmlformats-officedocument.themeOverride+xml"/>
  <Override PartName="/ppt/notesSlides/notesSlide33.xml" ContentType="application/vnd.openxmlformats-officedocument.presentationml.notesSlide+xml"/>
  <Override PartName="/ppt/charts/chart128.xml" ContentType="application/vnd.openxmlformats-officedocument.drawingml.chart+xml"/>
  <Override PartName="/ppt/theme/themeOverride128.xml" ContentType="application/vnd.openxmlformats-officedocument.themeOverride+xml"/>
  <Override PartName="/ppt/charts/chart129.xml" ContentType="application/vnd.openxmlformats-officedocument.drawingml.chart+xml"/>
  <Override PartName="/ppt/theme/themeOverride129.xml" ContentType="application/vnd.openxmlformats-officedocument.themeOverride+xml"/>
  <Override PartName="/ppt/notesSlides/notesSlide34.xml" ContentType="application/vnd.openxmlformats-officedocument.presentationml.notesSlide+xml"/>
  <Override PartName="/ppt/charts/chart130.xml" ContentType="application/vnd.openxmlformats-officedocument.drawingml.chart+xml"/>
  <Override PartName="/ppt/theme/themeOverride130.xml" ContentType="application/vnd.openxmlformats-officedocument.themeOverride+xml"/>
  <Override PartName="/ppt/charts/chart131.xml" ContentType="application/vnd.openxmlformats-officedocument.drawingml.chart+xml"/>
  <Override PartName="/ppt/theme/themeOverride131.xml" ContentType="application/vnd.openxmlformats-officedocument.themeOverride+xml"/>
  <Override PartName="/ppt/notesSlides/notesSlide35.xml" ContentType="application/vnd.openxmlformats-officedocument.presentationml.notesSlide+xml"/>
  <Override PartName="/ppt/charts/chart132.xml" ContentType="application/vnd.openxmlformats-officedocument.drawingml.chart+xml"/>
  <Override PartName="/ppt/theme/themeOverride132.xml" ContentType="application/vnd.openxmlformats-officedocument.themeOverride+xml"/>
  <Override PartName="/ppt/charts/chart133.xml" ContentType="application/vnd.openxmlformats-officedocument.drawingml.chart+xml"/>
  <Override PartName="/ppt/theme/themeOverride133.xml" ContentType="application/vnd.openxmlformats-officedocument.themeOverride+xml"/>
  <Override PartName="/ppt/notesSlides/notesSlide36.xml" ContentType="application/vnd.openxmlformats-officedocument.presentationml.notesSlide+xml"/>
  <Override PartName="/ppt/charts/chart134.xml" ContentType="application/vnd.openxmlformats-officedocument.drawingml.chart+xml"/>
  <Override PartName="/ppt/theme/themeOverride134.xml" ContentType="application/vnd.openxmlformats-officedocument.themeOverride+xml"/>
  <Override PartName="/ppt/charts/chart135.xml" ContentType="application/vnd.openxmlformats-officedocument.drawingml.chart+xml"/>
  <Override PartName="/ppt/theme/themeOverride135.xml" ContentType="application/vnd.openxmlformats-officedocument.themeOverride+xml"/>
  <Override PartName="/ppt/charts/chart136.xml" ContentType="application/vnd.openxmlformats-officedocument.drawingml.chart+xml"/>
  <Override PartName="/ppt/theme/themeOverride136.xml" ContentType="application/vnd.openxmlformats-officedocument.themeOverride+xml"/>
  <Override PartName="/ppt/notesSlides/notesSlide37.xml" ContentType="application/vnd.openxmlformats-officedocument.presentationml.notesSlide+xml"/>
  <Override PartName="/ppt/charts/chart137.xml" ContentType="application/vnd.openxmlformats-officedocument.drawingml.chart+xml"/>
  <Override PartName="/ppt/theme/themeOverride137.xml" ContentType="application/vnd.openxmlformats-officedocument.themeOverride+xml"/>
  <Override PartName="/ppt/charts/chart138.xml" ContentType="application/vnd.openxmlformats-officedocument.drawingml.chart+xml"/>
  <Override PartName="/ppt/theme/themeOverride138.xml" ContentType="application/vnd.openxmlformats-officedocument.themeOverride+xml"/>
  <Override PartName="/ppt/charts/chart139.xml" ContentType="application/vnd.openxmlformats-officedocument.drawingml.chart+xml"/>
  <Override PartName="/ppt/theme/themeOverride139.xml" ContentType="application/vnd.openxmlformats-officedocument.themeOverride+xml"/>
  <Override PartName="/ppt/notesSlides/notesSlide38.xml" ContentType="application/vnd.openxmlformats-officedocument.presentationml.notesSlide+xml"/>
  <Override PartName="/ppt/charts/chart140.xml" ContentType="application/vnd.openxmlformats-officedocument.drawingml.chart+xml"/>
  <Override PartName="/ppt/theme/themeOverride140.xml" ContentType="application/vnd.openxmlformats-officedocument.themeOverride+xml"/>
  <Override PartName="/ppt/charts/chart141.xml" ContentType="application/vnd.openxmlformats-officedocument.drawingml.chart+xml"/>
  <Override PartName="/ppt/theme/themeOverride141.xml" ContentType="application/vnd.openxmlformats-officedocument.themeOverride+xml"/>
  <Override PartName="/ppt/charts/chart142.xml" ContentType="application/vnd.openxmlformats-officedocument.drawingml.chart+xml"/>
  <Override PartName="/ppt/theme/themeOverride142.xml" ContentType="application/vnd.openxmlformats-officedocument.themeOverride+xml"/>
  <Override PartName="/ppt/notesSlides/notesSlide39.xml" ContentType="application/vnd.openxmlformats-officedocument.presentationml.notesSlide+xml"/>
  <Override PartName="/ppt/charts/chart143.xml" ContentType="application/vnd.openxmlformats-officedocument.drawingml.chart+xml"/>
  <Override PartName="/ppt/theme/themeOverride143.xml" ContentType="application/vnd.openxmlformats-officedocument.themeOverride+xml"/>
  <Override PartName="/ppt/charts/chart144.xml" ContentType="application/vnd.openxmlformats-officedocument.drawingml.chart+xml"/>
  <Override PartName="/ppt/theme/themeOverride144.xml" ContentType="application/vnd.openxmlformats-officedocument.themeOverride+xml"/>
  <Override PartName="/ppt/charts/chart145.xml" ContentType="application/vnd.openxmlformats-officedocument.drawingml.chart+xml"/>
  <Override PartName="/ppt/theme/themeOverride145.xml" ContentType="application/vnd.openxmlformats-officedocument.themeOverride+xml"/>
  <Override PartName="/ppt/notesSlides/notesSlide40.xml" ContentType="application/vnd.openxmlformats-officedocument.presentationml.notesSlide+xml"/>
  <Override PartName="/ppt/charts/chart146.xml" ContentType="application/vnd.openxmlformats-officedocument.drawingml.chart+xml"/>
  <Override PartName="/ppt/theme/themeOverride146.xml" ContentType="application/vnd.openxmlformats-officedocument.themeOverride+xml"/>
  <Override PartName="/ppt/charts/chart147.xml" ContentType="application/vnd.openxmlformats-officedocument.drawingml.chart+xml"/>
  <Override PartName="/ppt/theme/themeOverride147.xml" ContentType="application/vnd.openxmlformats-officedocument.themeOverride+xml"/>
  <Override PartName="/ppt/charts/chart148.xml" ContentType="application/vnd.openxmlformats-officedocument.drawingml.chart+xml"/>
  <Override PartName="/ppt/theme/themeOverride148.xml" ContentType="application/vnd.openxmlformats-officedocument.themeOverride+xml"/>
  <Override PartName="/ppt/notesSlides/notesSlide41.xml" ContentType="application/vnd.openxmlformats-officedocument.presentationml.notesSlide+xml"/>
  <Override PartName="/ppt/charts/chart149.xml" ContentType="application/vnd.openxmlformats-officedocument.drawingml.chart+xml"/>
  <Override PartName="/ppt/theme/themeOverride149.xml" ContentType="application/vnd.openxmlformats-officedocument.themeOverride+xml"/>
  <Override PartName="/ppt/charts/chart150.xml" ContentType="application/vnd.openxmlformats-officedocument.drawingml.chart+xml"/>
  <Override PartName="/ppt/theme/themeOverride150.xml" ContentType="application/vnd.openxmlformats-officedocument.themeOverride+xml"/>
  <Override PartName="/ppt/charts/chart151.xml" ContentType="application/vnd.openxmlformats-officedocument.drawingml.chart+xml"/>
  <Override PartName="/ppt/theme/themeOverride151.xml" ContentType="application/vnd.openxmlformats-officedocument.themeOverride+xml"/>
  <Override PartName="/ppt/notesSlides/notesSlide42.xml" ContentType="application/vnd.openxmlformats-officedocument.presentationml.notesSlide+xml"/>
  <Override PartName="/ppt/charts/chart152.xml" ContentType="application/vnd.openxmlformats-officedocument.drawingml.chart+xml"/>
  <Override PartName="/ppt/theme/themeOverride152.xml" ContentType="application/vnd.openxmlformats-officedocument.themeOverride+xml"/>
  <Override PartName="/ppt/charts/chart153.xml" ContentType="application/vnd.openxmlformats-officedocument.drawingml.chart+xml"/>
  <Override PartName="/ppt/theme/themeOverride153.xml" ContentType="application/vnd.openxmlformats-officedocument.themeOverride+xml"/>
  <Override PartName="/ppt/charts/chart154.xml" ContentType="application/vnd.openxmlformats-officedocument.drawingml.chart+xml"/>
  <Override PartName="/ppt/theme/themeOverride154.xml" ContentType="application/vnd.openxmlformats-officedocument.themeOverride+xml"/>
  <Override PartName="/ppt/notesSlides/notesSlide43.xml" ContentType="application/vnd.openxmlformats-officedocument.presentationml.notesSlide+xml"/>
  <Override PartName="/ppt/charts/chart155.xml" ContentType="application/vnd.openxmlformats-officedocument.drawingml.chart+xml"/>
  <Override PartName="/ppt/theme/themeOverride155.xml" ContentType="application/vnd.openxmlformats-officedocument.themeOverride+xml"/>
  <Override PartName="/ppt/charts/chart156.xml" ContentType="application/vnd.openxmlformats-officedocument.drawingml.chart+xml"/>
  <Override PartName="/ppt/theme/themeOverride156.xml" ContentType="application/vnd.openxmlformats-officedocument.themeOverride+xml"/>
  <Override PartName="/ppt/charts/chart157.xml" ContentType="application/vnd.openxmlformats-officedocument.drawingml.chart+xml"/>
  <Override PartName="/ppt/theme/themeOverride157.xml" ContentType="application/vnd.openxmlformats-officedocument.themeOverride+xml"/>
  <Override PartName="/ppt/notesSlides/notesSlide44.xml" ContentType="application/vnd.openxmlformats-officedocument.presentationml.notesSlide+xml"/>
  <Override PartName="/ppt/charts/chart158.xml" ContentType="application/vnd.openxmlformats-officedocument.drawingml.chart+xml"/>
  <Override PartName="/ppt/theme/themeOverride158.xml" ContentType="application/vnd.openxmlformats-officedocument.themeOverride+xml"/>
  <Override PartName="/ppt/charts/chart159.xml" ContentType="application/vnd.openxmlformats-officedocument.drawingml.chart+xml"/>
  <Override PartName="/ppt/theme/themeOverride159.xml" ContentType="application/vnd.openxmlformats-officedocument.themeOverride+xml"/>
  <Override PartName="/ppt/charts/chart160.xml" ContentType="application/vnd.openxmlformats-officedocument.drawingml.chart+xml"/>
  <Override PartName="/ppt/theme/themeOverride160.xml" ContentType="application/vnd.openxmlformats-officedocument.themeOverride+xml"/>
  <Override PartName="/ppt/notesSlides/notesSlide45.xml" ContentType="application/vnd.openxmlformats-officedocument.presentationml.notesSlide+xml"/>
  <Override PartName="/ppt/charts/chart161.xml" ContentType="application/vnd.openxmlformats-officedocument.drawingml.chart+xml"/>
  <Override PartName="/ppt/theme/themeOverride161.xml" ContentType="application/vnd.openxmlformats-officedocument.themeOverride+xml"/>
  <Override PartName="/ppt/charts/chart162.xml" ContentType="application/vnd.openxmlformats-officedocument.drawingml.chart+xml"/>
  <Override PartName="/ppt/theme/themeOverride162.xml" ContentType="application/vnd.openxmlformats-officedocument.themeOverride+xml"/>
  <Override PartName="/ppt/charts/chart163.xml" ContentType="application/vnd.openxmlformats-officedocument.drawingml.chart+xml"/>
  <Override PartName="/ppt/theme/themeOverride163.xml" ContentType="application/vnd.openxmlformats-officedocument.themeOverride+xml"/>
  <Override PartName="/ppt/notesSlides/notesSlide46.xml" ContentType="application/vnd.openxmlformats-officedocument.presentationml.notesSlide+xml"/>
  <Override PartName="/ppt/charts/chart164.xml" ContentType="application/vnd.openxmlformats-officedocument.drawingml.chart+xml"/>
  <Override PartName="/ppt/theme/themeOverride164.xml" ContentType="application/vnd.openxmlformats-officedocument.themeOverride+xml"/>
  <Override PartName="/ppt/charts/chart165.xml" ContentType="application/vnd.openxmlformats-officedocument.drawingml.chart+xml"/>
  <Override PartName="/ppt/theme/themeOverride165.xml" ContentType="application/vnd.openxmlformats-officedocument.themeOverride+xml"/>
  <Override PartName="/ppt/charts/chart166.xml" ContentType="application/vnd.openxmlformats-officedocument.drawingml.chart+xml"/>
  <Override PartName="/ppt/theme/themeOverride166.xml" ContentType="application/vnd.openxmlformats-officedocument.themeOverride+xml"/>
  <Override PartName="/ppt/notesSlides/notesSlide47.xml" ContentType="application/vnd.openxmlformats-officedocument.presentationml.notesSlide+xml"/>
  <Override PartName="/ppt/charts/chart167.xml" ContentType="application/vnd.openxmlformats-officedocument.drawingml.chart+xml"/>
  <Override PartName="/ppt/theme/themeOverride167.xml" ContentType="application/vnd.openxmlformats-officedocument.themeOverride+xml"/>
  <Override PartName="/ppt/charts/chart168.xml" ContentType="application/vnd.openxmlformats-officedocument.drawingml.chart+xml"/>
  <Override PartName="/ppt/theme/themeOverride168.xml" ContentType="application/vnd.openxmlformats-officedocument.themeOverride+xml"/>
  <Override PartName="/ppt/charts/chart169.xml" ContentType="application/vnd.openxmlformats-officedocument.drawingml.chart+xml"/>
  <Override PartName="/ppt/theme/themeOverride169.xml" ContentType="application/vnd.openxmlformats-officedocument.themeOverride+xml"/>
  <Override PartName="/ppt/tags/tag28.xml" ContentType="application/vnd.openxmlformats-officedocument.presentationml.tags+xml"/>
  <Override PartName="/ppt/notesSlides/notesSlide48.xml" ContentType="application/vnd.openxmlformats-officedocument.presentationml.notesSlide+xml"/>
  <Override PartName="/ppt/charts/chart170.xml" ContentType="application/vnd.openxmlformats-officedocument.drawingml.chart+xml"/>
  <Override PartName="/ppt/theme/themeOverride170.xml" ContentType="application/vnd.openxmlformats-officedocument.themeOverride+xml"/>
  <Override PartName="/ppt/charts/chart171.xml" ContentType="application/vnd.openxmlformats-officedocument.drawingml.chart+xml"/>
  <Override PartName="/ppt/theme/themeOverride171.xml" ContentType="application/vnd.openxmlformats-officedocument.themeOverride+xml"/>
  <Override PartName="/ppt/tags/tag29.xml" ContentType="application/vnd.openxmlformats-officedocument.presentationml.tags+xml"/>
  <Override PartName="/ppt/notesSlides/notesSlide49.xml" ContentType="application/vnd.openxmlformats-officedocument.presentationml.notesSlide+xml"/>
  <Override PartName="/ppt/charts/chart172.xml" ContentType="application/vnd.openxmlformats-officedocument.drawingml.chart+xml"/>
  <Override PartName="/ppt/theme/themeOverride172.xml" ContentType="application/vnd.openxmlformats-officedocument.themeOverride+xml"/>
  <Override PartName="/ppt/charts/chart173.xml" ContentType="application/vnd.openxmlformats-officedocument.drawingml.chart+xml"/>
  <Override PartName="/ppt/theme/themeOverride173.xml" ContentType="application/vnd.openxmlformats-officedocument.themeOverride+xml"/>
  <Override PartName="/ppt/tags/tag30.xml" ContentType="application/vnd.openxmlformats-officedocument.presentationml.tags+xml"/>
  <Override PartName="/ppt/notesSlides/notesSlide50.xml" ContentType="application/vnd.openxmlformats-officedocument.presentationml.notesSlide+xml"/>
  <Override PartName="/ppt/charts/chart174.xml" ContentType="application/vnd.openxmlformats-officedocument.drawingml.chart+xml"/>
  <Override PartName="/ppt/theme/themeOverride174.xml" ContentType="application/vnd.openxmlformats-officedocument.themeOverride+xml"/>
  <Override PartName="/ppt/charts/chart175.xml" ContentType="application/vnd.openxmlformats-officedocument.drawingml.chart+xml"/>
  <Override PartName="/ppt/theme/themeOverride175.xml" ContentType="application/vnd.openxmlformats-officedocument.themeOverride+xml"/>
  <Override PartName="/ppt/tags/tag31.xml" ContentType="application/vnd.openxmlformats-officedocument.presentationml.tags+xml"/>
  <Override PartName="/ppt/notesSlides/notesSlide51.xml" ContentType="application/vnd.openxmlformats-officedocument.presentationml.notesSlide+xml"/>
  <Override PartName="/ppt/charts/chart176.xml" ContentType="application/vnd.openxmlformats-officedocument.drawingml.chart+xml"/>
  <Override PartName="/ppt/theme/themeOverride176.xml" ContentType="application/vnd.openxmlformats-officedocument.themeOverride+xml"/>
  <Override PartName="/ppt/charts/chart177.xml" ContentType="application/vnd.openxmlformats-officedocument.drawingml.chart+xml"/>
  <Override PartName="/ppt/theme/themeOverride177.xml" ContentType="application/vnd.openxmlformats-officedocument.themeOverride+xml"/>
  <Override PartName="/ppt/tags/tag32.xml" ContentType="application/vnd.openxmlformats-officedocument.presentationml.tags+xml"/>
  <Override PartName="/ppt/notesSlides/notesSlide52.xml" ContentType="application/vnd.openxmlformats-officedocument.presentationml.notesSlide+xml"/>
  <Override PartName="/ppt/charts/chart178.xml" ContentType="application/vnd.openxmlformats-officedocument.drawingml.chart+xml"/>
  <Override PartName="/ppt/theme/themeOverride178.xml" ContentType="application/vnd.openxmlformats-officedocument.themeOverride+xml"/>
  <Override PartName="/ppt/charts/chart179.xml" ContentType="application/vnd.openxmlformats-officedocument.drawingml.chart+xml"/>
  <Override PartName="/ppt/theme/themeOverride179.xml" ContentType="application/vnd.openxmlformats-officedocument.themeOverride+xml"/>
  <Override PartName="/ppt/tags/tag33.xml" ContentType="application/vnd.openxmlformats-officedocument.presentationml.tags+xml"/>
  <Override PartName="/ppt/notesSlides/notesSlide53.xml" ContentType="application/vnd.openxmlformats-officedocument.presentationml.notesSlide+xml"/>
  <Override PartName="/ppt/charts/chart180.xml" ContentType="application/vnd.openxmlformats-officedocument.drawingml.chart+xml"/>
  <Override PartName="/ppt/theme/themeOverride180.xml" ContentType="application/vnd.openxmlformats-officedocument.themeOverride+xml"/>
  <Override PartName="/ppt/charts/chart181.xml" ContentType="application/vnd.openxmlformats-officedocument.drawingml.chart+xml"/>
  <Override PartName="/ppt/theme/themeOverride181.xml" ContentType="application/vnd.openxmlformats-officedocument.themeOverride+xml"/>
  <Override PartName="/ppt/tags/tag34.xml" ContentType="application/vnd.openxmlformats-officedocument.presentationml.tags+xml"/>
  <Override PartName="/ppt/notesSlides/notesSlide54.xml" ContentType="application/vnd.openxmlformats-officedocument.presentationml.notesSlide+xml"/>
  <Override PartName="/ppt/charts/chart182.xml" ContentType="application/vnd.openxmlformats-officedocument.drawingml.chart+xml"/>
  <Override PartName="/ppt/theme/themeOverride182.xml" ContentType="application/vnd.openxmlformats-officedocument.themeOverride+xml"/>
  <Override PartName="/ppt/charts/chart183.xml" ContentType="application/vnd.openxmlformats-officedocument.drawingml.chart+xml"/>
  <Override PartName="/ppt/theme/themeOverride183.xml" ContentType="application/vnd.openxmlformats-officedocument.themeOverride+xml"/>
  <Override PartName="/ppt/tags/tag35.xml" ContentType="application/vnd.openxmlformats-officedocument.presentationml.tags+xml"/>
  <Override PartName="/ppt/notesSlides/notesSlide55.xml" ContentType="application/vnd.openxmlformats-officedocument.presentationml.notesSlide+xml"/>
  <Override PartName="/ppt/charts/chart184.xml" ContentType="application/vnd.openxmlformats-officedocument.drawingml.chart+xml"/>
  <Override PartName="/ppt/theme/themeOverride184.xml" ContentType="application/vnd.openxmlformats-officedocument.themeOverride+xml"/>
  <Override PartName="/ppt/charts/chart185.xml" ContentType="application/vnd.openxmlformats-officedocument.drawingml.chart+xml"/>
  <Override PartName="/ppt/theme/themeOverride185.xml" ContentType="application/vnd.openxmlformats-officedocument.themeOverride+xml"/>
  <Override PartName="/ppt/tags/tag36.xml" ContentType="application/vnd.openxmlformats-officedocument.presentationml.tags+xml"/>
  <Override PartName="/ppt/notesSlides/notesSlide56.xml" ContentType="application/vnd.openxmlformats-officedocument.presentationml.notesSlide+xml"/>
  <Override PartName="/ppt/charts/chart186.xml" ContentType="application/vnd.openxmlformats-officedocument.drawingml.chart+xml"/>
  <Override PartName="/ppt/theme/themeOverride186.xml" ContentType="application/vnd.openxmlformats-officedocument.themeOverride+xml"/>
  <Override PartName="/ppt/charts/chart187.xml" ContentType="application/vnd.openxmlformats-officedocument.drawingml.chart+xml"/>
  <Override PartName="/ppt/theme/themeOverride187.xml" ContentType="application/vnd.openxmlformats-officedocument.themeOverride+xml"/>
  <Override PartName="/ppt/tags/tag37.xml" ContentType="application/vnd.openxmlformats-officedocument.presentationml.tags+xml"/>
  <Override PartName="/ppt/notesSlides/notesSlide57.xml" ContentType="application/vnd.openxmlformats-officedocument.presentationml.notesSlide+xml"/>
  <Override PartName="/ppt/charts/chart188.xml" ContentType="application/vnd.openxmlformats-officedocument.drawingml.chart+xml"/>
  <Override PartName="/ppt/theme/themeOverride188.xml" ContentType="application/vnd.openxmlformats-officedocument.themeOverride+xml"/>
  <Override PartName="/ppt/charts/chart189.xml" ContentType="application/vnd.openxmlformats-officedocument.drawingml.chart+xml"/>
  <Override PartName="/ppt/theme/themeOverride189.xml" ContentType="application/vnd.openxmlformats-officedocument.themeOverride+xml"/>
  <Override PartName="/ppt/tags/tag38.xml" ContentType="application/vnd.openxmlformats-officedocument.presentationml.tags+xml"/>
  <Override PartName="/ppt/notesSlides/notesSlide58.xml" ContentType="application/vnd.openxmlformats-officedocument.presentationml.notesSlide+xml"/>
  <Override PartName="/ppt/charts/chart190.xml" ContentType="application/vnd.openxmlformats-officedocument.drawingml.chart+xml"/>
  <Override PartName="/ppt/theme/themeOverride190.xml" ContentType="application/vnd.openxmlformats-officedocument.themeOverride+xml"/>
  <Override PartName="/ppt/charts/chart191.xml" ContentType="application/vnd.openxmlformats-officedocument.drawingml.chart+xml"/>
  <Override PartName="/ppt/theme/themeOverride191.xml" ContentType="application/vnd.openxmlformats-officedocument.themeOverride+xml"/>
  <Override PartName="/ppt/tags/tag39.xml" ContentType="application/vnd.openxmlformats-officedocument.presentationml.tags+xml"/>
  <Override PartName="/ppt/notesSlides/notesSlide59.xml" ContentType="application/vnd.openxmlformats-officedocument.presentationml.notesSlide+xml"/>
  <Override PartName="/ppt/charts/chart192.xml" ContentType="application/vnd.openxmlformats-officedocument.drawingml.chart+xml"/>
  <Override PartName="/ppt/theme/themeOverride192.xml" ContentType="application/vnd.openxmlformats-officedocument.themeOverride+xml"/>
  <Override PartName="/ppt/charts/chart193.xml" ContentType="application/vnd.openxmlformats-officedocument.drawingml.chart+xml"/>
  <Override PartName="/ppt/theme/themeOverride193.xml" ContentType="application/vnd.openxmlformats-officedocument.themeOverride+xml"/>
  <Override PartName="/ppt/tags/tag40.xml" ContentType="application/vnd.openxmlformats-officedocument.presentationml.tags+xml"/>
  <Override PartName="/ppt/notesSlides/notesSlide60.xml" ContentType="application/vnd.openxmlformats-officedocument.presentationml.notesSlide+xml"/>
  <Override PartName="/ppt/charts/chart194.xml" ContentType="application/vnd.openxmlformats-officedocument.drawingml.chart+xml"/>
  <Override PartName="/ppt/theme/themeOverride194.xml" ContentType="application/vnd.openxmlformats-officedocument.themeOverride+xml"/>
  <Override PartName="/ppt/charts/chart195.xml" ContentType="application/vnd.openxmlformats-officedocument.drawingml.chart+xml"/>
  <Override PartName="/ppt/theme/themeOverride195.xml" ContentType="application/vnd.openxmlformats-officedocument.themeOverride+xml"/>
  <Override PartName="/ppt/tags/tag41.xml" ContentType="application/vnd.openxmlformats-officedocument.presentationml.tags+xml"/>
  <Override PartName="/ppt/notesSlides/notesSlide61.xml" ContentType="application/vnd.openxmlformats-officedocument.presentationml.notesSlide+xml"/>
  <Override PartName="/ppt/charts/chart196.xml" ContentType="application/vnd.openxmlformats-officedocument.drawingml.chart+xml"/>
  <Override PartName="/ppt/theme/themeOverride196.xml" ContentType="application/vnd.openxmlformats-officedocument.themeOverride+xml"/>
  <Override PartName="/ppt/charts/chart197.xml" ContentType="application/vnd.openxmlformats-officedocument.drawingml.chart+xml"/>
  <Override PartName="/ppt/theme/themeOverride197.xml" ContentType="application/vnd.openxmlformats-officedocument.themeOverride+xml"/>
  <Override PartName="/ppt/tags/tag42.xml" ContentType="application/vnd.openxmlformats-officedocument.presentationml.tags+xml"/>
  <Override PartName="/ppt/notesSlides/notesSlide62.xml" ContentType="application/vnd.openxmlformats-officedocument.presentationml.notesSlide+xml"/>
  <Override PartName="/ppt/charts/chart198.xml" ContentType="application/vnd.openxmlformats-officedocument.drawingml.chart+xml"/>
  <Override PartName="/ppt/theme/themeOverride198.xml" ContentType="application/vnd.openxmlformats-officedocument.themeOverride+xml"/>
  <Override PartName="/ppt/charts/chart199.xml" ContentType="application/vnd.openxmlformats-officedocument.drawingml.chart+xml"/>
  <Override PartName="/ppt/theme/themeOverride199.xml" ContentType="application/vnd.openxmlformats-officedocument.themeOverride+xml"/>
  <Override PartName="/ppt/tags/tag43.xml" ContentType="application/vnd.openxmlformats-officedocument.presentationml.tags+xml"/>
  <Override PartName="/ppt/notesSlides/notesSlide63.xml" ContentType="application/vnd.openxmlformats-officedocument.presentationml.notesSlide+xml"/>
  <Override PartName="/ppt/charts/chart200.xml" ContentType="application/vnd.openxmlformats-officedocument.drawingml.chart+xml"/>
  <Override PartName="/ppt/theme/themeOverride200.xml" ContentType="application/vnd.openxmlformats-officedocument.themeOverride+xml"/>
  <Override PartName="/ppt/charts/chart201.xml" ContentType="application/vnd.openxmlformats-officedocument.drawingml.chart+xml"/>
  <Override PartName="/ppt/theme/themeOverride201.xml" ContentType="application/vnd.openxmlformats-officedocument.themeOverride+xml"/>
  <Override PartName="/ppt/tags/tag44.xml" ContentType="application/vnd.openxmlformats-officedocument.presentationml.tags+xml"/>
  <Override PartName="/ppt/notesSlides/notesSlide64.xml" ContentType="application/vnd.openxmlformats-officedocument.presentationml.notesSlide+xml"/>
  <Override PartName="/ppt/charts/chart202.xml" ContentType="application/vnd.openxmlformats-officedocument.drawingml.chart+xml"/>
  <Override PartName="/ppt/theme/themeOverride202.xml" ContentType="application/vnd.openxmlformats-officedocument.themeOverride+xml"/>
  <Override PartName="/ppt/charts/chart203.xml" ContentType="application/vnd.openxmlformats-officedocument.drawingml.chart+xml"/>
  <Override PartName="/ppt/theme/themeOverride203.xml" ContentType="application/vnd.openxmlformats-officedocument.themeOverride+xml"/>
  <Override PartName="/ppt/tags/tag45.xml" ContentType="application/vnd.openxmlformats-officedocument.presentationml.tags+xml"/>
  <Override PartName="/ppt/notesSlides/notesSlide65.xml" ContentType="application/vnd.openxmlformats-officedocument.presentationml.notesSlide+xml"/>
  <Override PartName="/ppt/charts/chart204.xml" ContentType="application/vnd.openxmlformats-officedocument.drawingml.chart+xml"/>
  <Override PartName="/ppt/theme/themeOverride204.xml" ContentType="application/vnd.openxmlformats-officedocument.themeOverride+xml"/>
  <Override PartName="/ppt/charts/chart205.xml" ContentType="application/vnd.openxmlformats-officedocument.drawingml.chart+xml"/>
  <Override PartName="/ppt/theme/themeOverride205.xml" ContentType="application/vnd.openxmlformats-officedocument.themeOverride+xml"/>
  <Override PartName="/ppt/tags/tag46.xml" ContentType="application/vnd.openxmlformats-officedocument.presentationml.tags+xml"/>
  <Override PartName="/ppt/notesSlides/notesSlide66.xml" ContentType="application/vnd.openxmlformats-officedocument.presentationml.notesSlide+xml"/>
  <Override PartName="/ppt/charts/chart206.xml" ContentType="application/vnd.openxmlformats-officedocument.drawingml.chart+xml"/>
  <Override PartName="/ppt/theme/themeOverride206.xml" ContentType="application/vnd.openxmlformats-officedocument.themeOverride+xml"/>
  <Override PartName="/ppt/charts/chart207.xml" ContentType="application/vnd.openxmlformats-officedocument.drawingml.chart+xml"/>
  <Override PartName="/ppt/theme/themeOverride207.xml" ContentType="application/vnd.openxmlformats-officedocument.themeOverride+xml"/>
  <Override PartName="/ppt/tags/tag47.xml" ContentType="application/vnd.openxmlformats-officedocument.presentationml.tags+xml"/>
  <Override PartName="/ppt/notesSlides/notesSlide67.xml" ContentType="application/vnd.openxmlformats-officedocument.presentationml.notesSlide+xml"/>
  <Override PartName="/ppt/charts/chart208.xml" ContentType="application/vnd.openxmlformats-officedocument.drawingml.chart+xml"/>
  <Override PartName="/ppt/theme/themeOverride208.xml" ContentType="application/vnd.openxmlformats-officedocument.themeOverride+xml"/>
  <Override PartName="/ppt/charts/chart209.xml" ContentType="application/vnd.openxmlformats-officedocument.drawingml.chart+xml"/>
  <Override PartName="/ppt/theme/themeOverride209.xml" ContentType="application/vnd.openxmlformats-officedocument.themeOverride+xml"/>
  <Override PartName="/ppt/tags/tag48.xml" ContentType="application/vnd.openxmlformats-officedocument.presentationml.tags+xml"/>
  <Override PartName="/ppt/notesSlides/notesSlide68.xml" ContentType="application/vnd.openxmlformats-officedocument.presentationml.notesSlide+xml"/>
  <Override PartName="/ppt/charts/chart210.xml" ContentType="application/vnd.openxmlformats-officedocument.drawingml.chart+xml"/>
  <Override PartName="/ppt/theme/themeOverride210.xml" ContentType="application/vnd.openxmlformats-officedocument.themeOverride+xml"/>
  <Override PartName="/ppt/charts/chart211.xml" ContentType="application/vnd.openxmlformats-officedocument.drawingml.chart+xml"/>
  <Override PartName="/ppt/theme/themeOverride211.xml" ContentType="application/vnd.openxmlformats-officedocument.themeOverride+xml"/>
  <Override PartName="/ppt/tags/tag49.xml" ContentType="application/vnd.openxmlformats-officedocument.presentationml.tags+xml"/>
  <Override PartName="/ppt/notesSlides/notesSlide69.xml" ContentType="application/vnd.openxmlformats-officedocument.presentationml.notesSlide+xml"/>
  <Override PartName="/ppt/charts/chart212.xml" ContentType="application/vnd.openxmlformats-officedocument.drawingml.chart+xml"/>
  <Override PartName="/ppt/theme/themeOverride212.xml" ContentType="application/vnd.openxmlformats-officedocument.themeOverride+xml"/>
  <Override PartName="/ppt/charts/chart213.xml" ContentType="application/vnd.openxmlformats-officedocument.drawingml.chart+xml"/>
  <Override PartName="/ppt/theme/themeOverride213.xml" ContentType="application/vnd.openxmlformats-officedocument.themeOverride+xml"/>
  <Override PartName="/ppt/tags/tag50.xml" ContentType="application/vnd.openxmlformats-officedocument.presentationml.tags+xml"/>
  <Override PartName="/ppt/notesSlides/notesSlide70.xml" ContentType="application/vnd.openxmlformats-officedocument.presentationml.notesSlide+xml"/>
  <Override PartName="/ppt/charts/chart214.xml" ContentType="application/vnd.openxmlformats-officedocument.drawingml.chart+xml"/>
  <Override PartName="/ppt/theme/themeOverride214.xml" ContentType="application/vnd.openxmlformats-officedocument.themeOverride+xml"/>
  <Override PartName="/ppt/charts/chart215.xml" ContentType="application/vnd.openxmlformats-officedocument.drawingml.chart+xml"/>
  <Override PartName="/ppt/theme/themeOverride215.xml" ContentType="application/vnd.openxmlformats-officedocument.themeOverride+xml"/>
  <Override PartName="/ppt/tags/tag51.xml" ContentType="application/vnd.openxmlformats-officedocument.presentationml.tags+xml"/>
  <Override PartName="/ppt/notesSlides/notesSlide71.xml" ContentType="application/vnd.openxmlformats-officedocument.presentationml.notesSlide+xml"/>
  <Override PartName="/ppt/charts/chart216.xml" ContentType="application/vnd.openxmlformats-officedocument.drawingml.chart+xml"/>
  <Override PartName="/ppt/theme/themeOverride216.xml" ContentType="application/vnd.openxmlformats-officedocument.themeOverride+xml"/>
  <Override PartName="/ppt/charts/chart217.xml" ContentType="application/vnd.openxmlformats-officedocument.drawingml.chart+xml"/>
  <Override PartName="/ppt/theme/themeOverride217.xml" ContentType="application/vnd.openxmlformats-officedocument.themeOverride+xml"/>
  <Override PartName="/ppt/tags/tag52.xml" ContentType="application/vnd.openxmlformats-officedocument.presentationml.tags+xml"/>
  <Override PartName="/ppt/notesSlides/notesSlide72.xml" ContentType="application/vnd.openxmlformats-officedocument.presentationml.notesSlide+xml"/>
  <Override PartName="/ppt/charts/chart218.xml" ContentType="application/vnd.openxmlformats-officedocument.drawingml.chart+xml"/>
  <Override PartName="/ppt/theme/themeOverride218.xml" ContentType="application/vnd.openxmlformats-officedocument.themeOverride+xml"/>
  <Override PartName="/ppt/charts/chart219.xml" ContentType="application/vnd.openxmlformats-officedocument.drawingml.chart+xml"/>
  <Override PartName="/ppt/theme/themeOverride219.xml" ContentType="application/vnd.openxmlformats-officedocument.themeOverride+xml"/>
  <Override PartName="/ppt/charts/chart220.xml" ContentType="application/vnd.openxmlformats-officedocument.drawingml.chart+xml"/>
  <Override PartName="/ppt/theme/themeOverride220.xml" ContentType="application/vnd.openxmlformats-officedocument.themeOverride+xml"/>
  <Override PartName="/ppt/charts/chart221.xml" ContentType="application/vnd.openxmlformats-officedocument.drawingml.chart+xml"/>
  <Override PartName="/ppt/theme/themeOverride221.xml" ContentType="application/vnd.openxmlformats-officedocument.themeOverride+xml"/>
  <Override PartName="/ppt/charts/chart222.xml" ContentType="application/vnd.openxmlformats-officedocument.drawingml.chart+xml"/>
  <Override PartName="/ppt/charts/style1.xml" ContentType="application/vnd.ms-office.chartstyle+xml"/>
  <Override PartName="/ppt/charts/colors1.xml" ContentType="application/vnd.ms-office.chartcolorstyle+xml"/>
  <Override PartName="/ppt/charts/chart223.xml" ContentType="application/vnd.openxmlformats-officedocument.drawingml.chart+xml"/>
  <Override PartName="/ppt/charts/style2.xml" ContentType="application/vnd.ms-office.chartstyle+xml"/>
  <Override PartName="/ppt/charts/colors2.xml" ContentType="application/vnd.ms-office.chartcolorstyle+xml"/>
  <Override PartName="/ppt/tags/tag53.xml" ContentType="application/vnd.openxmlformats-officedocument.presentationml.tags+xml"/>
  <Override PartName="/ppt/notesSlides/notesSlide73.xml" ContentType="application/vnd.openxmlformats-officedocument.presentationml.notesSlide+xml"/>
  <Override PartName="/ppt/charts/chart224.xml" ContentType="application/vnd.openxmlformats-officedocument.drawingml.chart+xml"/>
  <Override PartName="/ppt/theme/themeOverride222.xml" ContentType="application/vnd.openxmlformats-officedocument.themeOverride+xml"/>
  <Override PartName="/ppt/charts/chart225.xml" ContentType="application/vnd.openxmlformats-officedocument.drawingml.chart+xml"/>
  <Override PartName="/ppt/theme/themeOverride223.xml" ContentType="application/vnd.openxmlformats-officedocument.themeOverride+xml"/>
  <Override PartName="/ppt/charts/chart226.xml" ContentType="application/vnd.openxmlformats-officedocument.drawingml.chart+xml"/>
  <Override PartName="/ppt/theme/themeOverride224.xml" ContentType="application/vnd.openxmlformats-officedocument.themeOverride+xml"/>
  <Override PartName="/ppt/charts/chart227.xml" ContentType="application/vnd.openxmlformats-officedocument.drawingml.chart+xml"/>
  <Override PartName="/ppt/theme/themeOverride225.xml" ContentType="application/vnd.openxmlformats-officedocument.themeOverride+xml"/>
  <Override PartName="/ppt/charts/chart228.xml" ContentType="application/vnd.openxmlformats-officedocument.drawingml.chart+xml"/>
  <Override PartName="/ppt/charts/style3.xml" ContentType="application/vnd.ms-office.chartstyle+xml"/>
  <Override PartName="/ppt/charts/colors3.xml" ContentType="application/vnd.ms-office.chartcolorstyle+xml"/>
  <Override PartName="/ppt/charts/chart229.xml" ContentType="application/vnd.openxmlformats-officedocument.drawingml.chart+xml"/>
  <Override PartName="/ppt/charts/style4.xml" ContentType="application/vnd.ms-office.chartstyle+xml"/>
  <Override PartName="/ppt/charts/colors4.xml" ContentType="application/vnd.ms-office.chartcolorstyle+xml"/>
  <Override PartName="/ppt/tags/tag54.xml" ContentType="application/vnd.openxmlformats-officedocument.presentationml.tags+xml"/>
  <Override PartName="/ppt/notesSlides/notesSlide74.xml" ContentType="application/vnd.openxmlformats-officedocument.presentationml.notesSlide+xml"/>
  <Override PartName="/ppt/charts/chart230.xml" ContentType="application/vnd.openxmlformats-officedocument.drawingml.chart+xml"/>
  <Override PartName="/ppt/theme/themeOverride226.xml" ContentType="application/vnd.openxmlformats-officedocument.themeOverride+xml"/>
  <Override PartName="/ppt/charts/chart231.xml" ContentType="application/vnd.openxmlformats-officedocument.drawingml.chart+xml"/>
  <Override PartName="/ppt/theme/themeOverride227.xml" ContentType="application/vnd.openxmlformats-officedocument.themeOverride+xml"/>
  <Override PartName="/ppt/charts/chart232.xml" ContentType="application/vnd.openxmlformats-officedocument.drawingml.chart+xml"/>
  <Override PartName="/ppt/theme/themeOverride228.xml" ContentType="application/vnd.openxmlformats-officedocument.themeOverride+xml"/>
  <Override PartName="/ppt/charts/chart233.xml" ContentType="application/vnd.openxmlformats-officedocument.drawingml.chart+xml"/>
  <Override PartName="/ppt/theme/themeOverride229.xml" ContentType="application/vnd.openxmlformats-officedocument.themeOverride+xml"/>
  <Override PartName="/ppt/charts/chart234.xml" ContentType="application/vnd.openxmlformats-officedocument.drawingml.chart+xml"/>
  <Override PartName="/ppt/charts/style5.xml" ContentType="application/vnd.ms-office.chartstyle+xml"/>
  <Override PartName="/ppt/charts/colors5.xml" ContentType="application/vnd.ms-office.chartcolorstyle+xml"/>
  <Override PartName="/ppt/charts/chart235.xml" ContentType="application/vnd.openxmlformats-officedocument.drawingml.chart+xml"/>
  <Override PartName="/ppt/charts/style6.xml" ContentType="application/vnd.ms-office.chartstyle+xml"/>
  <Override PartName="/ppt/charts/colors6.xml" ContentType="application/vnd.ms-office.chartcolorstyle+xml"/>
  <Override PartName="/ppt/tags/tag55.xml" ContentType="application/vnd.openxmlformats-officedocument.presentationml.tags+xml"/>
  <Override PartName="/ppt/notesSlides/notesSlide75.xml" ContentType="application/vnd.openxmlformats-officedocument.presentationml.notesSlide+xml"/>
  <Override PartName="/ppt/charts/chart236.xml" ContentType="application/vnd.openxmlformats-officedocument.drawingml.chart+xml"/>
  <Override PartName="/ppt/theme/themeOverride230.xml" ContentType="application/vnd.openxmlformats-officedocument.themeOverride+xml"/>
  <Override PartName="/ppt/charts/chart237.xml" ContentType="application/vnd.openxmlformats-officedocument.drawingml.chart+xml"/>
  <Override PartName="/ppt/theme/themeOverride231.xml" ContentType="application/vnd.openxmlformats-officedocument.themeOverride+xml"/>
  <Override PartName="/ppt/charts/chart238.xml" ContentType="application/vnd.openxmlformats-officedocument.drawingml.chart+xml"/>
  <Override PartName="/ppt/theme/themeOverride232.xml" ContentType="application/vnd.openxmlformats-officedocument.themeOverride+xml"/>
  <Override PartName="/ppt/charts/chart239.xml" ContentType="application/vnd.openxmlformats-officedocument.drawingml.chart+xml"/>
  <Override PartName="/ppt/theme/themeOverride233.xml" ContentType="application/vnd.openxmlformats-officedocument.themeOverride+xml"/>
  <Override PartName="/ppt/charts/chart240.xml" ContentType="application/vnd.openxmlformats-officedocument.drawingml.chart+xml"/>
  <Override PartName="/ppt/charts/style7.xml" ContentType="application/vnd.ms-office.chartstyle+xml"/>
  <Override PartName="/ppt/charts/colors7.xml" ContentType="application/vnd.ms-office.chartcolorstyle+xml"/>
  <Override PartName="/ppt/charts/chart241.xml" ContentType="application/vnd.openxmlformats-officedocument.drawingml.chart+xml"/>
  <Override PartName="/ppt/charts/style8.xml" ContentType="application/vnd.ms-office.chartstyle+xml"/>
  <Override PartName="/ppt/charts/colors8.xml" ContentType="application/vnd.ms-office.chartcolorstyle+xml"/>
  <Override PartName="/ppt/tags/tag56.xml" ContentType="application/vnd.openxmlformats-officedocument.presentationml.tags+xml"/>
  <Override PartName="/ppt/notesSlides/notesSlide76.xml" ContentType="application/vnd.openxmlformats-officedocument.presentationml.notesSlide+xml"/>
  <Override PartName="/ppt/charts/chart242.xml" ContentType="application/vnd.openxmlformats-officedocument.drawingml.chart+xml"/>
  <Override PartName="/ppt/theme/themeOverride234.xml" ContentType="application/vnd.openxmlformats-officedocument.themeOverride+xml"/>
  <Override PartName="/ppt/charts/chart243.xml" ContentType="application/vnd.openxmlformats-officedocument.drawingml.chart+xml"/>
  <Override PartName="/ppt/theme/themeOverride235.xml" ContentType="application/vnd.openxmlformats-officedocument.themeOverride+xml"/>
  <Override PartName="/ppt/charts/chart244.xml" ContentType="application/vnd.openxmlformats-officedocument.drawingml.chart+xml"/>
  <Override PartName="/ppt/theme/themeOverride236.xml" ContentType="application/vnd.openxmlformats-officedocument.themeOverride+xml"/>
  <Override PartName="/ppt/charts/chart245.xml" ContentType="application/vnd.openxmlformats-officedocument.drawingml.chart+xml"/>
  <Override PartName="/ppt/theme/themeOverride237.xml" ContentType="application/vnd.openxmlformats-officedocument.themeOverride+xml"/>
  <Override PartName="/ppt/charts/chart246.xml" ContentType="application/vnd.openxmlformats-officedocument.drawingml.chart+xml"/>
  <Override PartName="/ppt/charts/style9.xml" ContentType="application/vnd.ms-office.chartstyle+xml"/>
  <Override PartName="/ppt/charts/colors9.xml" ContentType="application/vnd.ms-office.chartcolorstyle+xml"/>
  <Override PartName="/ppt/charts/chart247.xml" ContentType="application/vnd.openxmlformats-officedocument.drawingml.chart+xml"/>
  <Override PartName="/ppt/charts/style10.xml" ContentType="application/vnd.ms-office.chartstyle+xml"/>
  <Override PartName="/ppt/charts/colors10.xml" ContentType="application/vnd.ms-office.chartcolorstyle+xml"/>
  <Override PartName="/ppt/tags/tag57.xml" ContentType="application/vnd.openxmlformats-officedocument.presentationml.tags+xml"/>
  <Override PartName="/ppt/notesSlides/notesSlide77.xml" ContentType="application/vnd.openxmlformats-officedocument.presentationml.notesSlide+xml"/>
  <Override PartName="/ppt/charts/chart248.xml" ContentType="application/vnd.openxmlformats-officedocument.drawingml.chart+xml"/>
  <Override PartName="/ppt/theme/themeOverride238.xml" ContentType="application/vnd.openxmlformats-officedocument.themeOverride+xml"/>
  <Override PartName="/ppt/charts/chart249.xml" ContentType="application/vnd.openxmlformats-officedocument.drawingml.chart+xml"/>
  <Override PartName="/ppt/theme/themeOverride239.xml" ContentType="application/vnd.openxmlformats-officedocument.themeOverride+xml"/>
  <Override PartName="/ppt/charts/chart250.xml" ContentType="application/vnd.openxmlformats-officedocument.drawingml.chart+xml"/>
  <Override PartName="/ppt/theme/themeOverride240.xml" ContentType="application/vnd.openxmlformats-officedocument.themeOverride+xml"/>
  <Override PartName="/ppt/charts/chart251.xml" ContentType="application/vnd.openxmlformats-officedocument.drawingml.chart+xml"/>
  <Override PartName="/ppt/theme/themeOverride241.xml" ContentType="application/vnd.openxmlformats-officedocument.themeOverride+xml"/>
  <Override PartName="/ppt/charts/chart252.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53.xml" ContentType="application/vnd.openxmlformats-officedocument.drawingml.chart+xml"/>
  <Override PartName="/ppt/charts/style12.xml" ContentType="application/vnd.ms-office.chartstyle+xml"/>
  <Override PartName="/ppt/charts/colors12.xml" ContentType="application/vnd.ms-office.chartcolorstyle+xml"/>
  <Override PartName="/ppt/tags/tag58.xml" ContentType="application/vnd.openxmlformats-officedocument.presentationml.tags+xml"/>
  <Override PartName="/ppt/notesSlides/notesSlide78.xml" ContentType="application/vnd.openxmlformats-officedocument.presentationml.notesSlide+xml"/>
  <Override PartName="/ppt/charts/chart254.xml" ContentType="application/vnd.openxmlformats-officedocument.drawingml.chart+xml"/>
  <Override PartName="/ppt/theme/themeOverride242.xml" ContentType="application/vnd.openxmlformats-officedocument.themeOverride+xml"/>
  <Override PartName="/ppt/charts/chart255.xml" ContentType="application/vnd.openxmlformats-officedocument.drawingml.chart+xml"/>
  <Override PartName="/ppt/theme/themeOverride243.xml" ContentType="application/vnd.openxmlformats-officedocument.themeOverride+xml"/>
  <Override PartName="/ppt/charts/chart256.xml" ContentType="application/vnd.openxmlformats-officedocument.drawingml.chart+xml"/>
  <Override PartName="/ppt/theme/themeOverride244.xml" ContentType="application/vnd.openxmlformats-officedocument.themeOverride+xml"/>
  <Override PartName="/ppt/charts/chart257.xml" ContentType="application/vnd.openxmlformats-officedocument.drawingml.chart+xml"/>
  <Override PartName="/ppt/theme/themeOverride245.xml" ContentType="application/vnd.openxmlformats-officedocument.themeOverride+xml"/>
  <Override PartName="/ppt/charts/chart258.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59.xml" ContentType="application/vnd.openxmlformats-officedocument.drawingml.chart+xml"/>
  <Override PartName="/ppt/charts/style14.xml" ContentType="application/vnd.ms-office.chartstyle+xml"/>
  <Override PartName="/ppt/charts/colors14.xml" ContentType="application/vnd.ms-office.chartcolorstyle+xml"/>
  <Override PartName="/ppt/tags/tag59.xml" ContentType="application/vnd.openxmlformats-officedocument.presentationml.tags+xml"/>
  <Override PartName="/ppt/notesSlides/notesSlide79.xml" ContentType="application/vnd.openxmlformats-officedocument.presentationml.notesSlide+xml"/>
  <Override PartName="/ppt/charts/chart260.xml" ContentType="application/vnd.openxmlformats-officedocument.drawingml.chart+xml"/>
  <Override PartName="/ppt/theme/themeOverride246.xml" ContentType="application/vnd.openxmlformats-officedocument.themeOverride+xml"/>
  <Override PartName="/ppt/charts/chart261.xml" ContentType="application/vnd.openxmlformats-officedocument.drawingml.chart+xml"/>
  <Override PartName="/ppt/theme/themeOverride247.xml" ContentType="application/vnd.openxmlformats-officedocument.themeOverride+xml"/>
  <Override PartName="/ppt/charts/chart262.xml" ContentType="application/vnd.openxmlformats-officedocument.drawingml.chart+xml"/>
  <Override PartName="/ppt/theme/themeOverride248.xml" ContentType="application/vnd.openxmlformats-officedocument.themeOverride+xml"/>
  <Override PartName="/ppt/charts/chart263.xml" ContentType="application/vnd.openxmlformats-officedocument.drawingml.chart+xml"/>
  <Override PartName="/ppt/theme/themeOverride249.xml" ContentType="application/vnd.openxmlformats-officedocument.themeOverride+xml"/>
  <Override PartName="/ppt/charts/chart264.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5.xml" ContentType="application/vnd.openxmlformats-officedocument.drawingml.chart+xml"/>
  <Override PartName="/ppt/charts/style16.xml" ContentType="application/vnd.ms-office.chartstyle+xml"/>
  <Override PartName="/ppt/charts/colors16.xml" ContentType="application/vnd.ms-office.chartcolorstyle+xml"/>
  <Override PartName="/ppt/tags/tag60.xml" ContentType="application/vnd.openxmlformats-officedocument.presentationml.tags+xml"/>
  <Override PartName="/ppt/notesSlides/notesSlide80.xml" ContentType="application/vnd.openxmlformats-officedocument.presentationml.notesSlide+xml"/>
  <Override PartName="/ppt/charts/chart266.xml" ContentType="application/vnd.openxmlformats-officedocument.drawingml.chart+xml"/>
  <Override PartName="/ppt/theme/themeOverride250.xml" ContentType="application/vnd.openxmlformats-officedocument.themeOverride+xml"/>
  <Override PartName="/ppt/charts/chart267.xml" ContentType="application/vnd.openxmlformats-officedocument.drawingml.chart+xml"/>
  <Override PartName="/ppt/theme/themeOverride251.xml" ContentType="application/vnd.openxmlformats-officedocument.themeOverride+xml"/>
  <Override PartName="/ppt/charts/chart268.xml" ContentType="application/vnd.openxmlformats-officedocument.drawingml.chart+xml"/>
  <Override PartName="/ppt/theme/themeOverride252.xml" ContentType="application/vnd.openxmlformats-officedocument.themeOverride+xml"/>
  <Override PartName="/ppt/charts/chart269.xml" ContentType="application/vnd.openxmlformats-officedocument.drawingml.chart+xml"/>
  <Override PartName="/ppt/theme/themeOverride253.xml" ContentType="application/vnd.openxmlformats-officedocument.themeOverride+xml"/>
  <Override PartName="/ppt/charts/chart270.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71.xml" ContentType="application/vnd.openxmlformats-officedocument.drawingml.chart+xml"/>
  <Override PartName="/ppt/charts/style18.xml" ContentType="application/vnd.ms-office.chartstyle+xml"/>
  <Override PartName="/ppt/charts/colors18.xml" ContentType="application/vnd.ms-office.chartcolorstyle+xml"/>
  <Override PartName="/ppt/tags/tag61.xml" ContentType="application/vnd.openxmlformats-officedocument.presentationml.tags+xml"/>
  <Override PartName="/ppt/notesSlides/notesSlide81.xml" ContentType="application/vnd.openxmlformats-officedocument.presentationml.notesSlide+xml"/>
  <Override PartName="/ppt/charts/chart272.xml" ContentType="application/vnd.openxmlformats-officedocument.drawingml.chart+xml"/>
  <Override PartName="/ppt/theme/themeOverride254.xml" ContentType="application/vnd.openxmlformats-officedocument.themeOverride+xml"/>
  <Override PartName="/ppt/charts/chart273.xml" ContentType="application/vnd.openxmlformats-officedocument.drawingml.chart+xml"/>
  <Override PartName="/ppt/theme/themeOverride255.xml" ContentType="application/vnd.openxmlformats-officedocument.themeOverride+xml"/>
  <Override PartName="/ppt/charts/chart274.xml" ContentType="application/vnd.openxmlformats-officedocument.drawingml.chart+xml"/>
  <Override PartName="/ppt/theme/themeOverride256.xml" ContentType="application/vnd.openxmlformats-officedocument.themeOverride+xml"/>
  <Override PartName="/ppt/charts/chart275.xml" ContentType="application/vnd.openxmlformats-officedocument.drawingml.chart+xml"/>
  <Override PartName="/ppt/theme/themeOverride257.xml" ContentType="application/vnd.openxmlformats-officedocument.themeOverride+xml"/>
  <Override PartName="/ppt/charts/chart276.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77.xml" ContentType="application/vnd.openxmlformats-officedocument.drawingml.chart+xml"/>
  <Override PartName="/ppt/charts/style20.xml" ContentType="application/vnd.ms-office.chartstyle+xml"/>
  <Override PartName="/ppt/charts/colors20.xml" ContentType="application/vnd.ms-office.chartcolorstyle+xml"/>
  <Override PartName="/ppt/tags/tag62.xml" ContentType="application/vnd.openxmlformats-officedocument.presentationml.tags+xml"/>
  <Override PartName="/ppt/notesSlides/notesSlide82.xml" ContentType="application/vnd.openxmlformats-officedocument.presentationml.notesSlide+xml"/>
  <Override PartName="/ppt/charts/chart278.xml" ContentType="application/vnd.openxmlformats-officedocument.drawingml.chart+xml"/>
  <Override PartName="/ppt/theme/themeOverride258.xml" ContentType="application/vnd.openxmlformats-officedocument.themeOverride+xml"/>
  <Override PartName="/ppt/charts/chart279.xml" ContentType="application/vnd.openxmlformats-officedocument.drawingml.chart+xml"/>
  <Override PartName="/ppt/theme/themeOverride259.xml" ContentType="application/vnd.openxmlformats-officedocument.themeOverride+xml"/>
  <Override PartName="/ppt/charts/chart280.xml" ContentType="application/vnd.openxmlformats-officedocument.drawingml.chart+xml"/>
  <Override PartName="/ppt/theme/themeOverride260.xml" ContentType="application/vnd.openxmlformats-officedocument.themeOverride+xml"/>
  <Override PartName="/ppt/charts/chart281.xml" ContentType="application/vnd.openxmlformats-officedocument.drawingml.chart+xml"/>
  <Override PartName="/ppt/theme/themeOverride261.xml" ContentType="application/vnd.openxmlformats-officedocument.themeOverride+xml"/>
  <Override PartName="/ppt/charts/chart282.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83.xml" ContentType="application/vnd.openxmlformats-officedocument.drawingml.chart+xml"/>
  <Override PartName="/ppt/charts/style22.xml" ContentType="application/vnd.ms-office.chartstyle+xml"/>
  <Override PartName="/ppt/charts/colors22.xml" ContentType="application/vnd.ms-office.chartcolorstyle+xml"/>
  <Override PartName="/ppt/tags/tag63.xml" ContentType="application/vnd.openxmlformats-officedocument.presentationml.tags+xml"/>
  <Override PartName="/ppt/notesSlides/notesSlide83.xml" ContentType="application/vnd.openxmlformats-officedocument.presentationml.notesSlide+xml"/>
  <Override PartName="/ppt/charts/chart284.xml" ContentType="application/vnd.openxmlformats-officedocument.drawingml.chart+xml"/>
  <Override PartName="/ppt/theme/themeOverride262.xml" ContentType="application/vnd.openxmlformats-officedocument.themeOverride+xml"/>
  <Override PartName="/ppt/charts/chart285.xml" ContentType="application/vnd.openxmlformats-officedocument.drawingml.chart+xml"/>
  <Override PartName="/ppt/theme/themeOverride263.xml" ContentType="application/vnd.openxmlformats-officedocument.themeOverride+xml"/>
  <Override PartName="/ppt/charts/chart286.xml" ContentType="application/vnd.openxmlformats-officedocument.drawingml.chart+xml"/>
  <Override PartName="/ppt/theme/themeOverride264.xml" ContentType="application/vnd.openxmlformats-officedocument.themeOverride+xml"/>
  <Override PartName="/ppt/charts/chart287.xml" ContentType="application/vnd.openxmlformats-officedocument.drawingml.chart+xml"/>
  <Override PartName="/ppt/theme/themeOverride265.xml" ContentType="application/vnd.openxmlformats-officedocument.themeOverride+xml"/>
  <Override PartName="/ppt/charts/chart288.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89.xml" ContentType="application/vnd.openxmlformats-officedocument.drawingml.chart+xml"/>
  <Override PartName="/ppt/charts/style24.xml" ContentType="application/vnd.ms-office.chartstyle+xml"/>
  <Override PartName="/ppt/charts/colors24.xml" ContentType="application/vnd.ms-office.chartcolorstyle+xml"/>
  <Override PartName="/ppt/tags/tag64.xml" ContentType="application/vnd.openxmlformats-officedocument.presentationml.tags+xml"/>
  <Override PartName="/ppt/notesSlides/notesSlide84.xml" ContentType="application/vnd.openxmlformats-officedocument.presentationml.notesSlide+xml"/>
  <Override PartName="/ppt/charts/chart290.xml" ContentType="application/vnd.openxmlformats-officedocument.drawingml.chart+xml"/>
  <Override PartName="/ppt/theme/themeOverride266.xml" ContentType="application/vnd.openxmlformats-officedocument.themeOverride+xml"/>
  <Override PartName="/ppt/charts/chart291.xml" ContentType="application/vnd.openxmlformats-officedocument.drawingml.chart+xml"/>
  <Override PartName="/ppt/theme/themeOverride267.xml" ContentType="application/vnd.openxmlformats-officedocument.themeOverride+xml"/>
  <Override PartName="/ppt/charts/chart292.xml" ContentType="application/vnd.openxmlformats-officedocument.drawingml.chart+xml"/>
  <Override PartName="/ppt/theme/themeOverride268.xml" ContentType="application/vnd.openxmlformats-officedocument.themeOverride+xml"/>
  <Override PartName="/ppt/charts/chart293.xml" ContentType="application/vnd.openxmlformats-officedocument.drawingml.chart+xml"/>
  <Override PartName="/ppt/theme/themeOverride269.xml" ContentType="application/vnd.openxmlformats-officedocument.themeOverride+xml"/>
  <Override PartName="/ppt/charts/chart294.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95.xml" ContentType="application/vnd.openxmlformats-officedocument.drawingml.chart+xml"/>
  <Override PartName="/ppt/charts/style26.xml" ContentType="application/vnd.ms-office.chartstyle+xml"/>
  <Override PartName="/ppt/charts/colors26.xml" ContentType="application/vnd.ms-office.chartcolorstyle+xml"/>
  <Override PartName="/ppt/tags/tag65.xml" ContentType="application/vnd.openxmlformats-officedocument.presentationml.tags+xml"/>
  <Override PartName="/ppt/notesSlides/notesSlide85.xml" ContentType="application/vnd.openxmlformats-officedocument.presentationml.notesSlide+xml"/>
  <Override PartName="/ppt/charts/chart296.xml" ContentType="application/vnd.openxmlformats-officedocument.drawingml.chart+xml"/>
  <Override PartName="/ppt/theme/themeOverride270.xml" ContentType="application/vnd.openxmlformats-officedocument.themeOverride+xml"/>
  <Override PartName="/ppt/charts/chart297.xml" ContentType="application/vnd.openxmlformats-officedocument.drawingml.chart+xml"/>
  <Override PartName="/ppt/theme/themeOverride271.xml" ContentType="application/vnd.openxmlformats-officedocument.themeOverride+xml"/>
  <Override PartName="/ppt/charts/chart298.xml" ContentType="application/vnd.openxmlformats-officedocument.drawingml.chart+xml"/>
  <Override PartName="/ppt/theme/themeOverride272.xml" ContentType="application/vnd.openxmlformats-officedocument.themeOverride+xml"/>
  <Override PartName="/ppt/charts/chart299.xml" ContentType="application/vnd.openxmlformats-officedocument.drawingml.chart+xml"/>
  <Override PartName="/ppt/theme/themeOverride273.xml" ContentType="application/vnd.openxmlformats-officedocument.themeOverride+xml"/>
  <Override PartName="/ppt/charts/chart300.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01.xml" ContentType="application/vnd.openxmlformats-officedocument.drawingml.chart+xml"/>
  <Override PartName="/ppt/charts/style28.xml" ContentType="application/vnd.ms-office.chartstyle+xml"/>
  <Override PartName="/ppt/charts/colors28.xml" ContentType="application/vnd.ms-office.chartcolorstyle+xml"/>
  <Override PartName="/ppt/tags/tag66.xml" ContentType="application/vnd.openxmlformats-officedocument.presentationml.tags+xml"/>
  <Override PartName="/ppt/notesSlides/notesSlide86.xml" ContentType="application/vnd.openxmlformats-officedocument.presentationml.notesSlide+xml"/>
  <Override PartName="/ppt/charts/chart302.xml" ContentType="application/vnd.openxmlformats-officedocument.drawingml.chart+xml"/>
  <Override PartName="/ppt/theme/themeOverride274.xml" ContentType="application/vnd.openxmlformats-officedocument.themeOverride+xml"/>
  <Override PartName="/ppt/charts/chart303.xml" ContentType="application/vnd.openxmlformats-officedocument.drawingml.chart+xml"/>
  <Override PartName="/ppt/theme/themeOverride275.xml" ContentType="application/vnd.openxmlformats-officedocument.themeOverride+xml"/>
  <Override PartName="/ppt/charts/chart304.xml" ContentType="application/vnd.openxmlformats-officedocument.drawingml.chart+xml"/>
  <Override PartName="/ppt/theme/themeOverride276.xml" ContentType="application/vnd.openxmlformats-officedocument.themeOverride+xml"/>
  <Override PartName="/ppt/charts/chart305.xml" ContentType="application/vnd.openxmlformats-officedocument.drawingml.chart+xml"/>
  <Override PartName="/ppt/theme/themeOverride277.xml" ContentType="application/vnd.openxmlformats-officedocument.themeOverride+xml"/>
  <Override PartName="/ppt/charts/chart306.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7.xml" ContentType="application/vnd.openxmlformats-officedocument.drawingml.chart+xml"/>
  <Override PartName="/ppt/charts/style30.xml" ContentType="application/vnd.ms-office.chartstyle+xml"/>
  <Override PartName="/ppt/charts/colors30.xml" ContentType="application/vnd.ms-office.chartcolorstyle+xml"/>
  <Override PartName="/ppt/tags/tag67.xml" ContentType="application/vnd.openxmlformats-officedocument.presentationml.tags+xml"/>
  <Override PartName="/ppt/notesSlides/notesSlide87.xml" ContentType="application/vnd.openxmlformats-officedocument.presentationml.notesSlide+xml"/>
  <Override PartName="/ppt/charts/chart308.xml" ContentType="application/vnd.openxmlformats-officedocument.drawingml.chart+xml"/>
  <Override PartName="/ppt/theme/themeOverride278.xml" ContentType="application/vnd.openxmlformats-officedocument.themeOverride+xml"/>
  <Override PartName="/ppt/charts/chart309.xml" ContentType="application/vnd.openxmlformats-officedocument.drawingml.chart+xml"/>
  <Override PartName="/ppt/theme/themeOverride279.xml" ContentType="application/vnd.openxmlformats-officedocument.themeOverride+xml"/>
  <Override PartName="/ppt/charts/chart310.xml" ContentType="application/vnd.openxmlformats-officedocument.drawingml.chart+xml"/>
  <Override PartName="/ppt/theme/themeOverride280.xml" ContentType="application/vnd.openxmlformats-officedocument.themeOverride+xml"/>
  <Override PartName="/ppt/charts/chart311.xml" ContentType="application/vnd.openxmlformats-officedocument.drawingml.chart+xml"/>
  <Override PartName="/ppt/theme/themeOverride281.xml" ContentType="application/vnd.openxmlformats-officedocument.themeOverride+xml"/>
  <Override PartName="/ppt/charts/chart312.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13.xml" ContentType="application/vnd.openxmlformats-officedocument.drawingml.chart+xml"/>
  <Override PartName="/ppt/charts/style32.xml" ContentType="application/vnd.ms-office.chartstyle+xml"/>
  <Override PartName="/ppt/charts/colors32.xml" ContentType="application/vnd.ms-office.chartcolorstyle+xml"/>
  <Override PartName="/ppt/tags/tag68.xml" ContentType="application/vnd.openxmlformats-officedocument.presentationml.tags+xml"/>
  <Override PartName="/ppt/notesSlides/notesSlide88.xml" ContentType="application/vnd.openxmlformats-officedocument.presentationml.notesSlide+xml"/>
  <Override PartName="/ppt/charts/chart314.xml" ContentType="application/vnd.openxmlformats-officedocument.drawingml.chart+xml"/>
  <Override PartName="/ppt/theme/themeOverride282.xml" ContentType="application/vnd.openxmlformats-officedocument.themeOverride+xml"/>
  <Override PartName="/ppt/charts/chart315.xml" ContentType="application/vnd.openxmlformats-officedocument.drawingml.chart+xml"/>
  <Override PartName="/ppt/theme/themeOverride283.xml" ContentType="application/vnd.openxmlformats-officedocument.themeOverride+xml"/>
  <Override PartName="/ppt/charts/chart316.xml" ContentType="application/vnd.openxmlformats-officedocument.drawingml.chart+xml"/>
  <Override PartName="/ppt/theme/themeOverride284.xml" ContentType="application/vnd.openxmlformats-officedocument.themeOverride+xml"/>
  <Override PartName="/ppt/charts/chart317.xml" ContentType="application/vnd.openxmlformats-officedocument.drawingml.chart+xml"/>
  <Override PartName="/ppt/theme/themeOverride285.xml" ContentType="application/vnd.openxmlformats-officedocument.themeOverride+xml"/>
  <Override PartName="/ppt/charts/chart318.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19.xml" ContentType="application/vnd.openxmlformats-officedocument.drawingml.chart+xml"/>
  <Override PartName="/ppt/charts/style34.xml" ContentType="application/vnd.ms-office.chartstyle+xml"/>
  <Override PartName="/ppt/charts/colors34.xml" ContentType="application/vnd.ms-office.chartcolorstyle+xml"/>
  <Override PartName="/ppt/tags/tag69.xml" ContentType="application/vnd.openxmlformats-officedocument.presentationml.tags+xml"/>
  <Override PartName="/ppt/notesSlides/notesSlide89.xml" ContentType="application/vnd.openxmlformats-officedocument.presentationml.notesSlide+xml"/>
  <Override PartName="/ppt/charts/chart320.xml" ContentType="application/vnd.openxmlformats-officedocument.drawingml.chart+xml"/>
  <Override PartName="/ppt/theme/themeOverride286.xml" ContentType="application/vnd.openxmlformats-officedocument.themeOverride+xml"/>
  <Override PartName="/ppt/charts/chart321.xml" ContentType="application/vnd.openxmlformats-officedocument.drawingml.chart+xml"/>
  <Override PartName="/ppt/theme/themeOverride287.xml" ContentType="application/vnd.openxmlformats-officedocument.themeOverride+xml"/>
  <Override PartName="/ppt/charts/chart322.xml" ContentType="application/vnd.openxmlformats-officedocument.drawingml.chart+xml"/>
  <Override PartName="/ppt/theme/themeOverride288.xml" ContentType="application/vnd.openxmlformats-officedocument.themeOverride+xml"/>
  <Override PartName="/ppt/charts/chart323.xml" ContentType="application/vnd.openxmlformats-officedocument.drawingml.chart+xml"/>
  <Override PartName="/ppt/theme/themeOverride289.xml" ContentType="application/vnd.openxmlformats-officedocument.themeOverride+xml"/>
  <Override PartName="/ppt/charts/chart324.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25.xml" ContentType="application/vnd.openxmlformats-officedocument.drawingml.chart+xml"/>
  <Override PartName="/ppt/charts/style36.xml" ContentType="application/vnd.ms-office.chartstyle+xml"/>
  <Override PartName="/ppt/charts/colors36.xml" ContentType="application/vnd.ms-office.chartcolorstyle+xml"/>
  <Override PartName="/ppt/tags/tag70.xml" ContentType="application/vnd.openxmlformats-officedocument.presentationml.tags+xml"/>
  <Override PartName="/ppt/notesSlides/notesSlide90.xml" ContentType="application/vnd.openxmlformats-officedocument.presentationml.notesSlide+xml"/>
  <Override PartName="/ppt/charts/chart326.xml" ContentType="application/vnd.openxmlformats-officedocument.drawingml.chart+xml"/>
  <Override PartName="/ppt/theme/themeOverride290.xml" ContentType="application/vnd.openxmlformats-officedocument.themeOverride+xml"/>
  <Override PartName="/ppt/charts/chart327.xml" ContentType="application/vnd.openxmlformats-officedocument.drawingml.chart+xml"/>
  <Override PartName="/ppt/theme/themeOverride291.xml" ContentType="application/vnd.openxmlformats-officedocument.themeOverride+xml"/>
  <Override PartName="/ppt/charts/chart328.xml" ContentType="application/vnd.openxmlformats-officedocument.drawingml.chart+xml"/>
  <Override PartName="/ppt/theme/themeOverride292.xml" ContentType="application/vnd.openxmlformats-officedocument.themeOverride+xml"/>
  <Override PartName="/ppt/charts/chart329.xml" ContentType="application/vnd.openxmlformats-officedocument.drawingml.chart+xml"/>
  <Override PartName="/ppt/theme/themeOverride293.xml" ContentType="application/vnd.openxmlformats-officedocument.themeOverride+xml"/>
  <Override PartName="/ppt/charts/chart330.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31.xml" ContentType="application/vnd.openxmlformats-officedocument.drawingml.chart+xml"/>
  <Override PartName="/ppt/charts/style38.xml" ContentType="application/vnd.ms-office.chartstyle+xml"/>
  <Override PartName="/ppt/charts/colors38.xml" ContentType="application/vnd.ms-office.chartcolorstyle+xml"/>
  <Override PartName="/ppt/tags/tag71.xml" ContentType="application/vnd.openxmlformats-officedocument.presentationml.tags+xml"/>
  <Override PartName="/ppt/notesSlides/notesSlide91.xml" ContentType="application/vnd.openxmlformats-officedocument.presentationml.notesSlide+xml"/>
  <Override PartName="/ppt/charts/chart332.xml" ContentType="application/vnd.openxmlformats-officedocument.drawingml.chart+xml"/>
  <Override PartName="/ppt/theme/themeOverride294.xml" ContentType="application/vnd.openxmlformats-officedocument.themeOverride+xml"/>
  <Override PartName="/ppt/charts/chart333.xml" ContentType="application/vnd.openxmlformats-officedocument.drawingml.chart+xml"/>
  <Override PartName="/ppt/theme/themeOverride295.xml" ContentType="application/vnd.openxmlformats-officedocument.themeOverride+xml"/>
  <Override PartName="/ppt/charts/chart334.xml" ContentType="application/vnd.openxmlformats-officedocument.drawingml.chart+xml"/>
  <Override PartName="/ppt/theme/themeOverride296.xml" ContentType="application/vnd.openxmlformats-officedocument.themeOverride+xml"/>
  <Override PartName="/ppt/charts/chart335.xml" ContentType="application/vnd.openxmlformats-officedocument.drawingml.chart+xml"/>
  <Override PartName="/ppt/theme/themeOverride297.xml" ContentType="application/vnd.openxmlformats-officedocument.themeOverride+xml"/>
  <Override PartName="/ppt/charts/chart336.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37.xml" ContentType="application/vnd.openxmlformats-officedocument.drawingml.chart+xml"/>
  <Override PartName="/ppt/charts/style40.xml" ContentType="application/vnd.ms-office.chartstyle+xml"/>
  <Override PartName="/ppt/charts/colors40.xml" ContentType="application/vnd.ms-office.chartcolorstyle+xml"/>
  <Override PartName="/ppt/tags/tag72.xml" ContentType="application/vnd.openxmlformats-officedocument.presentationml.tags+xml"/>
  <Override PartName="/ppt/notesSlides/notesSlide92.xml" ContentType="application/vnd.openxmlformats-officedocument.presentationml.notesSlide+xml"/>
  <Override PartName="/ppt/charts/chart338.xml" ContentType="application/vnd.openxmlformats-officedocument.drawingml.chart+xml"/>
  <Override PartName="/ppt/theme/themeOverride298.xml" ContentType="application/vnd.openxmlformats-officedocument.themeOverride+xml"/>
  <Override PartName="/ppt/charts/chart339.xml" ContentType="application/vnd.openxmlformats-officedocument.drawingml.chart+xml"/>
  <Override PartName="/ppt/theme/themeOverride299.xml" ContentType="application/vnd.openxmlformats-officedocument.themeOverride+xml"/>
  <Override PartName="/ppt/charts/chart340.xml" ContentType="application/vnd.openxmlformats-officedocument.drawingml.chart+xml"/>
  <Override PartName="/ppt/theme/themeOverride300.xml" ContentType="application/vnd.openxmlformats-officedocument.themeOverride+xml"/>
  <Override PartName="/ppt/charts/chart341.xml" ContentType="application/vnd.openxmlformats-officedocument.drawingml.chart+xml"/>
  <Override PartName="/ppt/theme/themeOverride301.xml" ContentType="application/vnd.openxmlformats-officedocument.themeOverride+xml"/>
  <Override PartName="/ppt/charts/chart342.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343.xml" ContentType="application/vnd.openxmlformats-officedocument.drawingml.chart+xml"/>
  <Override PartName="/ppt/charts/style42.xml" ContentType="application/vnd.ms-office.chartstyle+xml"/>
  <Override PartName="/ppt/charts/colors42.xml" ContentType="application/vnd.ms-office.chartcolorstyle+xml"/>
  <Override PartName="/ppt/tags/tag73.xml" ContentType="application/vnd.openxmlformats-officedocument.presentationml.tags+xml"/>
  <Override PartName="/ppt/notesSlides/notesSlide93.xml" ContentType="application/vnd.openxmlformats-officedocument.presentationml.notesSlide+xml"/>
  <Override PartName="/ppt/charts/chart344.xml" ContentType="application/vnd.openxmlformats-officedocument.drawingml.chart+xml"/>
  <Override PartName="/ppt/theme/themeOverride302.xml" ContentType="application/vnd.openxmlformats-officedocument.themeOverride+xml"/>
  <Override PartName="/ppt/charts/chart345.xml" ContentType="application/vnd.openxmlformats-officedocument.drawingml.chart+xml"/>
  <Override PartName="/ppt/theme/themeOverride303.xml" ContentType="application/vnd.openxmlformats-officedocument.themeOverride+xml"/>
  <Override PartName="/ppt/charts/chart346.xml" ContentType="application/vnd.openxmlformats-officedocument.drawingml.chart+xml"/>
  <Override PartName="/ppt/theme/themeOverride304.xml" ContentType="application/vnd.openxmlformats-officedocument.themeOverride+xml"/>
  <Override PartName="/ppt/charts/chart347.xml" ContentType="application/vnd.openxmlformats-officedocument.drawingml.chart+xml"/>
  <Override PartName="/ppt/theme/themeOverride305.xml" ContentType="application/vnd.openxmlformats-officedocument.themeOverride+xml"/>
  <Override PartName="/ppt/charts/chart348.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349.xml" ContentType="application/vnd.openxmlformats-officedocument.drawingml.chart+xml"/>
  <Override PartName="/ppt/charts/style44.xml" ContentType="application/vnd.ms-office.chartstyle+xml"/>
  <Override PartName="/ppt/charts/colors44.xml" ContentType="application/vnd.ms-office.chartcolorstyle+xml"/>
  <Override PartName="/ppt/tags/tag74.xml" ContentType="application/vnd.openxmlformats-officedocument.presentationml.tags+xml"/>
  <Override PartName="/ppt/notesSlides/notesSlide94.xml" ContentType="application/vnd.openxmlformats-officedocument.presentationml.notesSlide+xml"/>
  <Override PartName="/ppt/charts/chart350.xml" ContentType="application/vnd.openxmlformats-officedocument.drawingml.chart+xml"/>
  <Override PartName="/ppt/charts/style45.xml" ContentType="application/vnd.ms-office.chartstyle+xml"/>
  <Override PartName="/ppt/charts/colors45.xml" ContentType="application/vnd.ms-office.chartcolorstyle+xml"/>
  <Override PartName="/ppt/tags/tag75.xml" ContentType="application/vnd.openxmlformats-officedocument.presentationml.tags+xml"/>
  <Override PartName="/ppt/notesSlides/notesSlide95.xml" ContentType="application/vnd.openxmlformats-officedocument.presentationml.notesSlide+xml"/>
  <Override PartName="/ppt/charts/chart351.xml" ContentType="application/vnd.openxmlformats-officedocument.drawingml.chart+xml"/>
  <Override PartName="/ppt/charts/style46.xml" ContentType="application/vnd.ms-office.chartstyle+xml"/>
  <Override PartName="/ppt/charts/colors46.xml" ContentType="application/vnd.ms-office.chartcolorstyle+xml"/>
  <Override PartName="/ppt/tags/tag76.xml" ContentType="application/vnd.openxmlformats-officedocument.presentationml.tags+xml"/>
  <Override PartName="/ppt/notesSlides/notesSlide96.xml" ContentType="application/vnd.openxmlformats-officedocument.presentationml.notesSlide+xml"/>
  <Override PartName="/ppt/charts/chart352.xml" ContentType="application/vnd.openxmlformats-officedocument.drawingml.chart+xml"/>
  <Override PartName="/ppt/charts/style47.xml" ContentType="application/vnd.ms-office.chartstyle+xml"/>
  <Override PartName="/ppt/charts/colors47.xml" ContentType="application/vnd.ms-office.chartcolorstyle+xml"/>
  <Override PartName="/ppt/tags/tag77.xml" ContentType="application/vnd.openxmlformats-officedocument.presentationml.tags+xml"/>
  <Override PartName="/ppt/notesSlides/notesSlide97.xml" ContentType="application/vnd.openxmlformats-officedocument.presentationml.notesSlide+xml"/>
  <Override PartName="/ppt/charts/chart353.xml" ContentType="application/vnd.openxmlformats-officedocument.drawingml.chart+xml"/>
  <Override PartName="/ppt/charts/style48.xml" ContentType="application/vnd.ms-office.chartstyle+xml"/>
  <Override PartName="/ppt/charts/colors48.xml" ContentType="application/vnd.ms-office.chartcolorstyle+xml"/>
  <Override PartName="/ppt/tags/tag78.xml" ContentType="application/vnd.openxmlformats-officedocument.presentationml.tags+xml"/>
  <Override PartName="/ppt/notesSlides/notesSlide98.xml" ContentType="application/vnd.openxmlformats-officedocument.presentationml.notesSlide+xml"/>
  <Override PartName="/ppt/charts/chart354.xml" ContentType="application/vnd.openxmlformats-officedocument.drawingml.chart+xml"/>
  <Override PartName="/ppt/charts/style49.xml" ContentType="application/vnd.ms-office.chartstyle+xml"/>
  <Override PartName="/ppt/charts/colors49.xml" ContentType="application/vnd.ms-office.chartcolorstyle+xml"/>
  <Override PartName="/ppt/tags/tag79.xml" ContentType="application/vnd.openxmlformats-officedocument.presentationml.tags+xml"/>
  <Override PartName="/ppt/notesSlides/notesSlide99.xml" ContentType="application/vnd.openxmlformats-officedocument.presentationml.notesSlide+xml"/>
  <Override PartName="/ppt/charts/chart355.xml" ContentType="application/vnd.openxmlformats-officedocument.drawingml.chart+xml"/>
  <Override PartName="/ppt/charts/style50.xml" ContentType="application/vnd.ms-office.chartstyle+xml"/>
  <Override PartName="/ppt/charts/colors50.xml" ContentType="application/vnd.ms-office.chartcolorstyle+xml"/>
  <Override PartName="/ppt/tags/tag80.xml" ContentType="application/vnd.openxmlformats-officedocument.presentationml.tags+xml"/>
  <Override PartName="/ppt/notesSlides/notesSlide100.xml" ContentType="application/vnd.openxmlformats-officedocument.presentationml.notesSlide+xml"/>
  <Override PartName="/ppt/charts/chart356.xml" ContentType="application/vnd.openxmlformats-officedocument.drawingml.chart+xml"/>
  <Override PartName="/ppt/charts/style51.xml" ContentType="application/vnd.ms-office.chartstyle+xml"/>
  <Override PartName="/ppt/charts/colors51.xml" ContentType="application/vnd.ms-office.chartcolorstyle+xml"/>
  <Override PartName="/ppt/tags/tag81.xml" ContentType="application/vnd.openxmlformats-officedocument.presentationml.tags+xml"/>
  <Override PartName="/ppt/notesSlides/notesSlide101.xml" ContentType="application/vnd.openxmlformats-officedocument.presentationml.notesSlide+xml"/>
  <Override PartName="/ppt/charts/chart357.xml" ContentType="application/vnd.openxmlformats-officedocument.drawingml.chart+xml"/>
  <Override PartName="/ppt/charts/style52.xml" ContentType="application/vnd.ms-office.chartstyle+xml"/>
  <Override PartName="/ppt/charts/colors52.xml" ContentType="application/vnd.ms-office.chartcolorstyle+xml"/>
  <Override PartName="/ppt/tags/tag82.xml" ContentType="application/vnd.openxmlformats-officedocument.presentationml.tags+xml"/>
  <Override PartName="/ppt/notesSlides/notesSlide102.xml" ContentType="application/vnd.openxmlformats-officedocument.presentationml.notesSlide+xml"/>
  <Override PartName="/ppt/charts/chart358.xml" ContentType="application/vnd.openxmlformats-officedocument.drawingml.chart+xml"/>
  <Override PartName="/ppt/charts/style53.xml" ContentType="application/vnd.ms-office.chartstyle+xml"/>
  <Override PartName="/ppt/charts/colors53.xml" ContentType="application/vnd.ms-office.chartcolorstyle+xml"/>
  <Override PartName="/ppt/tags/tag83.xml" ContentType="application/vnd.openxmlformats-officedocument.presentationml.tags+xml"/>
  <Override PartName="/ppt/notesSlides/notesSlide103.xml" ContentType="application/vnd.openxmlformats-officedocument.presentationml.notesSlide+xml"/>
  <Override PartName="/ppt/charts/chart359.xml" ContentType="application/vnd.openxmlformats-officedocument.drawingml.chart+xml"/>
  <Override PartName="/ppt/charts/style54.xml" ContentType="application/vnd.ms-office.chartstyle+xml"/>
  <Override PartName="/ppt/charts/colors54.xml" ContentType="application/vnd.ms-office.chartcolorstyle+xml"/>
  <Override PartName="/ppt/tags/tag84.xml" ContentType="application/vnd.openxmlformats-officedocument.presentationml.tags+xml"/>
  <Override PartName="/ppt/notesSlides/notesSlide104.xml" ContentType="application/vnd.openxmlformats-officedocument.presentationml.notesSlide+xml"/>
  <Override PartName="/ppt/charts/chart360.xml" ContentType="application/vnd.openxmlformats-officedocument.drawingml.chart+xml"/>
  <Override PartName="/ppt/charts/style55.xml" ContentType="application/vnd.ms-office.chartstyle+xml"/>
  <Override PartName="/ppt/charts/colors55.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109"/>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 id="2147475198" r:id="rId33"/>
    <p:sldId id="2147475199" r:id="rId34"/>
    <p:sldId id="2147475200" r:id="rId35"/>
    <p:sldId id="2147475201" r:id="rId36"/>
    <p:sldId id="2147475202" r:id="rId37"/>
    <p:sldId id="2147475203" r:id="rId38"/>
    <p:sldId id="2147475204" r:id="rId39"/>
    <p:sldId id="2147475205" r:id="rId40"/>
    <p:sldId id="2147475206" r:id="rId41"/>
    <p:sldId id="2147475207" r:id="rId42"/>
    <p:sldId id="2147475208" r:id="rId43"/>
    <p:sldId id="2147475209" r:id="rId44"/>
    <p:sldId id="2147475210" r:id="rId45"/>
    <p:sldId id="2147475211" r:id="rId46"/>
    <p:sldId id="2147475212" r:id="rId47"/>
    <p:sldId id="2147475213" r:id="rId48"/>
    <p:sldId id="2147475214" r:id="rId49"/>
    <p:sldId id="2147475215" r:id="rId50"/>
    <p:sldId id="2147475216" r:id="rId51"/>
    <p:sldId id="2147475217" r:id="rId52"/>
    <p:sldId id="2147475218" r:id="rId53"/>
    <p:sldId id="2147475219" r:id="rId54"/>
    <p:sldId id="2147475220" r:id="rId55"/>
    <p:sldId id="2147475221" r:id="rId56"/>
    <p:sldId id="2147475222" r:id="rId57"/>
    <p:sldId id="2147475223" r:id="rId58"/>
    <p:sldId id="2147475224" r:id="rId59"/>
    <p:sldId id="2147475225" r:id="rId60"/>
    <p:sldId id="2147475226" r:id="rId61"/>
    <p:sldId id="2147475227" r:id="rId62"/>
    <p:sldId id="2147475228" r:id="rId63"/>
    <p:sldId id="2147475229" r:id="rId64"/>
    <p:sldId id="2147475230" r:id="rId65"/>
    <p:sldId id="2147475231" r:id="rId66"/>
    <p:sldId id="2147475232" r:id="rId67"/>
    <p:sldId id="2147475233" r:id="rId68"/>
    <p:sldId id="2147475234" r:id="rId69"/>
    <p:sldId id="2147475235" r:id="rId70"/>
    <p:sldId id="2147475236" r:id="rId71"/>
    <p:sldId id="2147475237" r:id="rId72"/>
    <p:sldId id="2147475238" r:id="rId73"/>
    <p:sldId id="2147475239" r:id="rId74"/>
    <p:sldId id="2147475240" r:id="rId75"/>
    <p:sldId id="2147475241" r:id="rId76"/>
    <p:sldId id="2147475242" r:id="rId77"/>
    <p:sldId id="2147475243" r:id="rId78"/>
    <p:sldId id="2147475244" r:id="rId79"/>
    <p:sldId id="2147475245" r:id="rId80"/>
    <p:sldId id="2147475246" r:id="rId81"/>
    <p:sldId id="2147475247" r:id="rId82"/>
    <p:sldId id="2147475248" r:id="rId83"/>
    <p:sldId id="2147475249" r:id="rId84"/>
    <p:sldId id="2147475250" r:id="rId85"/>
    <p:sldId id="2147475251" r:id="rId86"/>
    <p:sldId id="2147475252" r:id="rId87"/>
    <p:sldId id="2147475253" r:id="rId88"/>
    <p:sldId id="2147475254" r:id="rId89"/>
    <p:sldId id="2147475255" r:id="rId90"/>
    <p:sldId id="2147475256" r:id="rId91"/>
    <p:sldId id="2147475257" r:id="rId92"/>
    <p:sldId id="2147475258" r:id="rId93"/>
    <p:sldId id="2147475259" r:id="rId94"/>
    <p:sldId id="2147475260" r:id="rId95"/>
    <p:sldId id="2147475261" r:id="rId96"/>
    <p:sldId id="2147475262" r:id="rId97"/>
    <p:sldId id="2147475263" r:id="rId98"/>
    <p:sldId id="2147475264" r:id="rId99"/>
    <p:sldId id="2147475265" r:id="rId100"/>
    <p:sldId id="2147475266" r:id="rId101"/>
    <p:sldId id="2147475267" r:id="rId102"/>
    <p:sldId id="2147475268" r:id="rId103"/>
    <p:sldId id="2147475269" r:id="rId104"/>
    <p:sldId id="2147475270" r:id="rId105"/>
    <p:sldId id="2147475271" r:id="rId106"/>
    <p:sldId id="2147475272" r:id="rId107"/>
    <p:sldId id="2147475273" r:id="rId10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hare and Growth By Manufacturer/Brands" id="{23930F4A-E96C-4F4F-97DF-AC1949DE64F5}">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Lst>
        </p14:section>
        <p14:section name="Share And Growth By Manufacturer By Retailer" id="{E343FF5E-747F-4578-A32C-60879B65ABBE}">
          <p14:sldIdLst>
            <p14:sldId id="2147475191"/>
            <p14:sldId id="2147475192"/>
            <p14:sldId id="2147475193"/>
            <p14:sldId id="2147475194"/>
            <p14:sldId id="2147475195"/>
            <p14:sldId id="2147475196"/>
            <p14:sldId id="2147475197"/>
          </p14:sldIdLst>
        </p14:section>
        <p14:section name="Share And Growth By Brands By Retailer" id="{84B87356-D776-47A1-9ED9-225F2DFB4FFE}">
          <p14:sldIdLst>
            <p14:sldId id="2147475198"/>
            <p14:sldId id="2147475199"/>
            <p14:sldId id="2147475200"/>
            <p14:sldId id="2147475201"/>
            <p14:sldId id="2147475202"/>
            <p14:sldId id="2147475203"/>
            <p14:sldId id="2147475204"/>
          </p14:sldIdLst>
        </p14:section>
        <p14:section name="Share And Growth By Manufacturer By Sector" id="{1F989063-D0EB-41DA-8EC8-374FB5C70E28}">
          <p14:sldIdLst>
            <p14:sldId id="2147475205"/>
            <p14:sldId id="2147475206"/>
            <p14:sldId id="2147475207"/>
          </p14:sldIdLst>
        </p14:section>
        <p14:section name="Share And Growth By Brands By Sector" id="{309F8F09-E8BB-4E2D-BE6D-D438ECBCC8A7}">
          <p14:sldIdLst>
            <p14:sldId id="2147475208"/>
            <p14:sldId id="2147475209"/>
            <p14:sldId id="2147475210"/>
          </p14:sldIdLst>
        </p14:section>
        <p14:section name="Share And Growth By Manufacturer By Segment" id="{4D038A90-F063-481D-BB5C-FAB500FB1AB3}">
          <p14:sldIdLst>
            <p14:sldId id="2147475211"/>
            <p14:sldId id="2147475212"/>
            <p14:sldId id="2147475213"/>
          </p14:sldIdLst>
        </p14:section>
        <p14:section name="Share And Growth By Brands By Segment" id="{C491D591-9E4D-429D-ABCA-38ECBDA77FCB}">
          <p14:sldIdLst>
            <p14:sldId id="2147475214"/>
            <p14:sldId id="2147475215"/>
            <p14:sldId id="2147475216"/>
          </p14:sldIdLst>
        </p14:section>
        <p14:section name="Sales and Growth By Sector" id="{D2BB8F20-F6FC-444F-B2B2-F5D68337F7B6}">
          <p14:sldIdLst>
            <p14:sldId id="2147475217"/>
            <p14:sldId id="2147475218"/>
            <p14:sldId id="2147475219"/>
            <p14:sldId id="2147475220"/>
            <p14:sldId id="2147475221"/>
            <p14:sldId id="2147475222"/>
            <p14:sldId id="2147475223"/>
            <p14:sldId id="2147475224"/>
            <p14:sldId id="2147475225"/>
            <p14:sldId id="2147475226"/>
            <p14:sldId id="2147475227"/>
            <p14:sldId id="2147475228"/>
          </p14:sldIdLst>
        </p14:section>
        <p14:section name="Sales and Growth By Segment" id="{BDDBC2A2-D8F4-4B36-9BE6-43DC259E1D01}">
          <p14:sldIdLst>
            <p14:sldId id="2147475229"/>
            <p14:sldId id="2147475230"/>
            <p14:sldId id="2147475231"/>
            <p14:sldId id="2147475232"/>
            <p14:sldId id="2147475233"/>
            <p14:sldId id="2147475234"/>
            <p14:sldId id="2147475235"/>
            <p14:sldId id="2147475236"/>
            <p14:sldId id="2147475237"/>
            <p14:sldId id="2147475238"/>
            <p14:sldId id="2147475239"/>
            <p14:sldId id="2147475240"/>
          </p14:sldIdLst>
        </p14:section>
        <p14:section name="Share and Growth By Category for Region For Retailer" id="{5FF7A2FA-CE72-4F56-854D-C75A7B4E55B2}">
          <p14:sldIdLst>
            <p14:sldId id="2147475241"/>
            <p14:sldId id="2147475242"/>
            <p14:sldId id="2147475243"/>
            <p14:sldId id="2147475244"/>
          </p14:sldIdLst>
        </p14:section>
        <p14:section name="Share and Growth By Sector for Region For Retailer" id="{1C6769A8-76EF-463B-B2B6-DE72F0844BC7}">
          <p14:sldIdLst>
            <p14:sldId id="2147475245"/>
            <p14:sldId id="2147475246"/>
            <p14:sldId id="2147475247"/>
            <p14:sldId id="2147475248"/>
            <p14:sldId id="2147475249"/>
            <p14:sldId id="2147475250"/>
            <p14:sldId id="2147475251"/>
            <p14:sldId id="2147475252"/>
            <p14:sldId id="2147475253"/>
          </p14:sldIdLst>
        </p14:section>
        <p14:section name="Share and Growth By Segment for Region For Retailer" id="{F78110D5-9B57-4298-8440-FDF2ED62E7CB}">
          <p14:sldIdLst>
            <p14:sldId id="2147475254"/>
            <p14:sldId id="2147475255"/>
            <p14:sldId id="2147475256"/>
            <p14:sldId id="2147475257"/>
            <p14:sldId id="2147475258"/>
            <p14:sldId id="2147475259"/>
            <p14:sldId id="2147475260"/>
            <p14:sldId id="2147475261"/>
            <p14:sldId id="2147475262"/>
          </p14:sldIdLst>
        </p14:section>
        <p14:section name="Momentum Analysis By Retailers" id="{3D6E30D2-5AB4-4157-802D-80638CB8572C}">
          <p14:sldIdLst>
            <p14:sldId id="2147475263"/>
            <p14:sldId id="2147475264"/>
            <p14:sldId id="2147475265"/>
            <p14:sldId id="2147475266"/>
            <p14:sldId id="2147475267"/>
            <p14:sldId id="2147475268"/>
            <p14:sldId id="2147475269"/>
          </p14:sldIdLst>
        </p14:section>
        <p14:section name="Momentum Analysis By Retailers By Segments" id="{519ED5AA-E4D4-4EF4-AE8D-3CEE3A6B4576}">
          <p14:sldIdLst>
            <p14:sldId id="2147475270"/>
          </p14:sldIdLst>
        </p14:section>
        <p14:section name="Momentum Analysis By Sectors" id="{895020B2-A479-49CC-9F33-F61F6DF17E31}">
          <p14:sldIdLst>
            <p14:sldId id="2147475271"/>
            <p14:sldId id="2147475272"/>
            <p14:sldId id="214747527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100" d="100"/>
          <a:sy n="100" d="100"/>
        </p:scale>
        <p:origin x="58" y="62"/>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theme" Target="theme/theme1.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tableStyles" Target="tableStyle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microsoft.com/office/2018/10/relationships/authors" Target="author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notesMaster" Target="notesMasters/notesMaster1.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10.xml"/></Relationships>
</file>

<file path=ppt/charts/_rels/chart100.xml.rels><?xml version="1.0" encoding="UTF-8" standalone="yes"?>
<Relationships xmlns="http://schemas.openxmlformats.org/package/2006/relationships"><Relationship Id="rId2" Type="http://schemas.openxmlformats.org/officeDocument/2006/relationships/package" Target="../embeddings/Microsoft_Excel_Worksheet99.xlsx"/><Relationship Id="rId1" Type="http://schemas.openxmlformats.org/officeDocument/2006/relationships/themeOverride" Target="../theme/themeOverride100.xml"/></Relationships>
</file>

<file path=ppt/charts/_rels/chart101.xml.rels><?xml version="1.0" encoding="UTF-8" standalone="yes"?>
<Relationships xmlns="http://schemas.openxmlformats.org/package/2006/relationships"><Relationship Id="rId2" Type="http://schemas.openxmlformats.org/officeDocument/2006/relationships/package" Target="../embeddings/Microsoft_Excel_Worksheet100.xlsx"/><Relationship Id="rId1" Type="http://schemas.openxmlformats.org/officeDocument/2006/relationships/themeOverride" Target="../theme/themeOverride101.xml"/></Relationships>
</file>

<file path=ppt/charts/_rels/chart102.xml.rels><?xml version="1.0" encoding="UTF-8" standalone="yes"?>
<Relationships xmlns="http://schemas.openxmlformats.org/package/2006/relationships"><Relationship Id="rId2" Type="http://schemas.openxmlformats.org/officeDocument/2006/relationships/package" Target="../embeddings/Microsoft_Excel_Worksheet101.xlsx"/><Relationship Id="rId1" Type="http://schemas.openxmlformats.org/officeDocument/2006/relationships/themeOverride" Target="../theme/themeOverride102.xml"/></Relationships>
</file>

<file path=ppt/charts/_rels/chart103.xml.rels><?xml version="1.0" encoding="UTF-8" standalone="yes"?>
<Relationships xmlns="http://schemas.openxmlformats.org/package/2006/relationships"><Relationship Id="rId2" Type="http://schemas.openxmlformats.org/officeDocument/2006/relationships/package" Target="../embeddings/Microsoft_Excel_Worksheet102.xlsx"/><Relationship Id="rId1" Type="http://schemas.openxmlformats.org/officeDocument/2006/relationships/themeOverride" Target="../theme/themeOverride103.xml"/></Relationships>
</file>

<file path=ppt/charts/_rels/chart104.xml.rels><?xml version="1.0" encoding="UTF-8" standalone="yes"?>
<Relationships xmlns="http://schemas.openxmlformats.org/package/2006/relationships"><Relationship Id="rId2" Type="http://schemas.openxmlformats.org/officeDocument/2006/relationships/package" Target="../embeddings/Microsoft_Excel_Worksheet103.xlsx"/><Relationship Id="rId1" Type="http://schemas.openxmlformats.org/officeDocument/2006/relationships/themeOverride" Target="../theme/themeOverride104.xml"/></Relationships>
</file>

<file path=ppt/charts/_rels/chart105.xml.rels><?xml version="1.0" encoding="UTF-8" standalone="yes"?>
<Relationships xmlns="http://schemas.openxmlformats.org/package/2006/relationships"><Relationship Id="rId2" Type="http://schemas.openxmlformats.org/officeDocument/2006/relationships/package" Target="../embeddings/Microsoft_Excel_Worksheet104.xlsx"/><Relationship Id="rId1" Type="http://schemas.openxmlformats.org/officeDocument/2006/relationships/themeOverride" Target="../theme/themeOverride105.xml"/></Relationships>
</file>

<file path=ppt/charts/_rels/chart106.xml.rels><?xml version="1.0" encoding="UTF-8" standalone="yes"?>
<Relationships xmlns="http://schemas.openxmlformats.org/package/2006/relationships"><Relationship Id="rId2" Type="http://schemas.openxmlformats.org/officeDocument/2006/relationships/package" Target="../embeddings/Microsoft_Excel_Worksheet105.xlsx"/><Relationship Id="rId1" Type="http://schemas.openxmlformats.org/officeDocument/2006/relationships/themeOverride" Target="../theme/themeOverride106.xml"/></Relationships>
</file>

<file path=ppt/charts/_rels/chart107.xml.rels><?xml version="1.0" encoding="UTF-8" standalone="yes"?>
<Relationships xmlns="http://schemas.openxmlformats.org/package/2006/relationships"><Relationship Id="rId2" Type="http://schemas.openxmlformats.org/officeDocument/2006/relationships/package" Target="../embeddings/Microsoft_Excel_Worksheet106.xlsx"/><Relationship Id="rId1" Type="http://schemas.openxmlformats.org/officeDocument/2006/relationships/themeOverride" Target="../theme/themeOverride107.xml"/></Relationships>
</file>

<file path=ppt/charts/_rels/chart108.xml.rels><?xml version="1.0" encoding="UTF-8" standalone="yes"?>
<Relationships xmlns="http://schemas.openxmlformats.org/package/2006/relationships"><Relationship Id="rId2" Type="http://schemas.openxmlformats.org/officeDocument/2006/relationships/package" Target="../embeddings/Microsoft_Excel_Worksheet107.xlsx"/><Relationship Id="rId1" Type="http://schemas.openxmlformats.org/officeDocument/2006/relationships/themeOverride" Target="../theme/themeOverride108.xml"/></Relationships>
</file>

<file path=ppt/charts/_rels/chart109.xml.rels><?xml version="1.0" encoding="UTF-8" standalone="yes"?>
<Relationships xmlns="http://schemas.openxmlformats.org/package/2006/relationships"><Relationship Id="rId2" Type="http://schemas.openxmlformats.org/officeDocument/2006/relationships/package" Target="../embeddings/Microsoft_Excel_Worksheet108.xlsx"/><Relationship Id="rId1" Type="http://schemas.openxmlformats.org/officeDocument/2006/relationships/themeOverride" Target="../theme/themeOverride109.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11.xml"/></Relationships>
</file>

<file path=ppt/charts/_rels/chart110.xml.rels><?xml version="1.0" encoding="UTF-8" standalone="yes"?>
<Relationships xmlns="http://schemas.openxmlformats.org/package/2006/relationships"><Relationship Id="rId2" Type="http://schemas.openxmlformats.org/officeDocument/2006/relationships/package" Target="../embeddings/Microsoft_Excel_Worksheet109.xlsx"/><Relationship Id="rId1" Type="http://schemas.openxmlformats.org/officeDocument/2006/relationships/themeOverride" Target="../theme/themeOverride110.xml"/></Relationships>
</file>

<file path=ppt/charts/_rels/chart111.xml.rels><?xml version="1.0" encoding="UTF-8" standalone="yes"?>
<Relationships xmlns="http://schemas.openxmlformats.org/package/2006/relationships"><Relationship Id="rId2" Type="http://schemas.openxmlformats.org/officeDocument/2006/relationships/package" Target="../embeddings/Microsoft_Excel_Worksheet110.xlsx"/><Relationship Id="rId1" Type="http://schemas.openxmlformats.org/officeDocument/2006/relationships/themeOverride" Target="../theme/themeOverride111.xml"/></Relationships>
</file>

<file path=ppt/charts/_rels/chart112.xml.rels><?xml version="1.0" encoding="UTF-8" standalone="yes"?>
<Relationships xmlns="http://schemas.openxmlformats.org/package/2006/relationships"><Relationship Id="rId2" Type="http://schemas.openxmlformats.org/officeDocument/2006/relationships/package" Target="../embeddings/Microsoft_Excel_Worksheet111.xlsx"/><Relationship Id="rId1" Type="http://schemas.openxmlformats.org/officeDocument/2006/relationships/themeOverride" Target="../theme/themeOverride112.xml"/></Relationships>
</file>

<file path=ppt/charts/_rels/chart113.xml.rels><?xml version="1.0" encoding="UTF-8" standalone="yes"?>
<Relationships xmlns="http://schemas.openxmlformats.org/package/2006/relationships"><Relationship Id="rId2" Type="http://schemas.openxmlformats.org/officeDocument/2006/relationships/package" Target="../embeddings/Microsoft_Excel_Worksheet112.xlsx"/><Relationship Id="rId1" Type="http://schemas.openxmlformats.org/officeDocument/2006/relationships/themeOverride" Target="../theme/themeOverride113.xml"/></Relationships>
</file>

<file path=ppt/charts/_rels/chart114.xml.rels><?xml version="1.0" encoding="UTF-8" standalone="yes"?>
<Relationships xmlns="http://schemas.openxmlformats.org/package/2006/relationships"><Relationship Id="rId2" Type="http://schemas.openxmlformats.org/officeDocument/2006/relationships/package" Target="../embeddings/Microsoft_Excel_Worksheet113.xlsx"/><Relationship Id="rId1" Type="http://schemas.openxmlformats.org/officeDocument/2006/relationships/themeOverride" Target="../theme/themeOverride114.xml"/></Relationships>
</file>

<file path=ppt/charts/_rels/chart115.xml.rels><?xml version="1.0" encoding="UTF-8" standalone="yes"?>
<Relationships xmlns="http://schemas.openxmlformats.org/package/2006/relationships"><Relationship Id="rId2" Type="http://schemas.openxmlformats.org/officeDocument/2006/relationships/package" Target="../embeddings/Microsoft_Excel_Worksheet114.xlsx"/><Relationship Id="rId1" Type="http://schemas.openxmlformats.org/officeDocument/2006/relationships/themeOverride" Target="../theme/themeOverride115.xml"/></Relationships>
</file>

<file path=ppt/charts/_rels/chart116.xml.rels><?xml version="1.0" encoding="UTF-8" standalone="yes"?>
<Relationships xmlns="http://schemas.openxmlformats.org/package/2006/relationships"><Relationship Id="rId2" Type="http://schemas.openxmlformats.org/officeDocument/2006/relationships/package" Target="../embeddings/Microsoft_Excel_Worksheet115.xlsx"/><Relationship Id="rId1" Type="http://schemas.openxmlformats.org/officeDocument/2006/relationships/themeOverride" Target="../theme/themeOverride116.xml"/></Relationships>
</file>

<file path=ppt/charts/_rels/chart117.xml.rels><?xml version="1.0" encoding="UTF-8" standalone="yes"?>
<Relationships xmlns="http://schemas.openxmlformats.org/package/2006/relationships"><Relationship Id="rId2" Type="http://schemas.openxmlformats.org/officeDocument/2006/relationships/package" Target="../embeddings/Microsoft_Excel_Worksheet116.xlsx"/><Relationship Id="rId1" Type="http://schemas.openxmlformats.org/officeDocument/2006/relationships/themeOverride" Target="../theme/themeOverride117.xml"/></Relationships>
</file>

<file path=ppt/charts/_rels/chart118.xml.rels><?xml version="1.0" encoding="UTF-8" standalone="yes"?>
<Relationships xmlns="http://schemas.openxmlformats.org/package/2006/relationships"><Relationship Id="rId2" Type="http://schemas.openxmlformats.org/officeDocument/2006/relationships/package" Target="../embeddings/Microsoft_Excel_Worksheet117.xlsx"/><Relationship Id="rId1" Type="http://schemas.openxmlformats.org/officeDocument/2006/relationships/themeOverride" Target="../theme/themeOverride118.xml"/></Relationships>
</file>

<file path=ppt/charts/_rels/chart119.xml.rels><?xml version="1.0" encoding="UTF-8" standalone="yes"?>
<Relationships xmlns="http://schemas.openxmlformats.org/package/2006/relationships"><Relationship Id="rId2" Type="http://schemas.openxmlformats.org/officeDocument/2006/relationships/package" Target="../embeddings/Microsoft_Excel_Worksheet118.xlsx"/><Relationship Id="rId1" Type="http://schemas.openxmlformats.org/officeDocument/2006/relationships/themeOverride" Target="../theme/themeOverride119.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2.xml"/></Relationships>
</file>

<file path=ppt/charts/_rels/chart120.xml.rels><?xml version="1.0" encoding="UTF-8" standalone="yes"?>
<Relationships xmlns="http://schemas.openxmlformats.org/package/2006/relationships"><Relationship Id="rId2" Type="http://schemas.openxmlformats.org/officeDocument/2006/relationships/package" Target="../embeddings/Microsoft_Excel_Worksheet119.xlsx"/><Relationship Id="rId1" Type="http://schemas.openxmlformats.org/officeDocument/2006/relationships/themeOverride" Target="../theme/themeOverride120.xml"/></Relationships>
</file>

<file path=ppt/charts/_rels/chart121.xml.rels><?xml version="1.0" encoding="UTF-8" standalone="yes"?>
<Relationships xmlns="http://schemas.openxmlformats.org/package/2006/relationships"><Relationship Id="rId2" Type="http://schemas.openxmlformats.org/officeDocument/2006/relationships/package" Target="../embeddings/Microsoft_Excel_Worksheet120.xlsx"/><Relationship Id="rId1" Type="http://schemas.openxmlformats.org/officeDocument/2006/relationships/themeOverride" Target="../theme/themeOverride121.xml"/></Relationships>
</file>

<file path=ppt/charts/_rels/chart122.xml.rels><?xml version="1.0" encoding="UTF-8" standalone="yes"?>
<Relationships xmlns="http://schemas.openxmlformats.org/package/2006/relationships"><Relationship Id="rId2" Type="http://schemas.openxmlformats.org/officeDocument/2006/relationships/package" Target="../embeddings/Microsoft_Excel_Worksheet121.xlsx"/><Relationship Id="rId1" Type="http://schemas.openxmlformats.org/officeDocument/2006/relationships/themeOverride" Target="../theme/themeOverride122.xml"/></Relationships>
</file>

<file path=ppt/charts/_rels/chart123.xml.rels><?xml version="1.0" encoding="UTF-8" standalone="yes"?>
<Relationships xmlns="http://schemas.openxmlformats.org/package/2006/relationships"><Relationship Id="rId2" Type="http://schemas.openxmlformats.org/officeDocument/2006/relationships/package" Target="../embeddings/Microsoft_Excel_Worksheet122.xlsx"/><Relationship Id="rId1" Type="http://schemas.openxmlformats.org/officeDocument/2006/relationships/themeOverride" Target="../theme/themeOverride123.xml"/></Relationships>
</file>

<file path=ppt/charts/_rels/chart124.xml.rels><?xml version="1.0" encoding="UTF-8" standalone="yes"?>
<Relationships xmlns="http://schemas.openxmlformats.org/package/2006/relationships"><Relationship Id="rId2" Type="http://schemas.openxmlformats.org/officeDocument/2006/relationships/package" Target="../embeddings/Microsoft_Excel_Worksheet123.xlsx"/><Relationship Id="rId1" Type="http://schemas.openxmlformats.org/officeDocument/2006/relationships/themeOverride" Target="../theme/themeOverride124.xml"/></Relationships>
</file>

<file path=ppt/charts/_rels/chart125.xml.rels><?xml version="1.0" encoding="UTF-8" standalone="yes"?>
<Relationships xmlns="http://schemas.openxmlformats.org/package/2006/relationships"><Relationship Id="rId2" Type="http://schemas.openxmlformats.org/officeDocument/2006/relationships/package" Target="../embeddings/Microsoft_Excel_Worksheet124.xlsx"/><Relationship Id="rId1" Type="http://schemas.openxmlformats.org/officeDocument/2006/relationships/themeOverride" Target="../theme/themeOverride125.xml"/></Relationships>
</file>

<file path=ppt/charts/_rels/chart126.xml.rels><?xml version="1.0" encoding="UTF-8" standalone="yes"?>
<Relationships xmlns="http://schemas.openxmlformats.org/package/2006/relationships"><Relationship Id="rId2" Type="http://schemas.openxmlformats.org/officeDocument/2006/relationships/package" Target="../embeddings/Microsoft_Excel_Worksheet125.xlsx"/><Relationship Id="rId1" Type="http://schemas.openxmlformats.org/officeDocument/2006/relationships/themeOverride" Target="../theme/themeOverride126.xml"/></Relationships>
</file>

<file path=ppt/charts/_rels/chart127.xml.rels><?xml version="1.0" encoding="UTF-8" standalone="yes"?>
<Relationships xmlns="http://schemas.openxmlformats.org/package/2006/relationships"><Relationship Id="rId2" Type="http://schemas.openxmlformats.org/officeDocument/2006/relationships/package" Target="../embeddings/Microsoft_Excel_Worksheet126.xlsx"/><Relationship Id="rId1" Type="http://schemas.openxmlformats.org/officeDocument/2006/relationships/themeOverride" Target="../theme/themeOverride127.xml"/></Relationships>
</file>

<file path=ppt/charts/_rels/chart128.xml.rels><?xml version="1.0" encoding="UTF-8" standalone="yes"?>
<Relationships xmlns="http://schemas.openxmlformats.org/package/2006/relationships"><Relationship Id="rId2" Type="http://schemas.openxmlformats.org/officeDocument/2006/relationships/package" Target="../embeddings/Microsoft_Excel_Worksheet127.xlsx"/><Relationship Id="rId1" Type="http://schemas.openxmlformats.org/officeDocument/2006/relationships/themeOverride" Target="../theme/themeOverride128.xml"/></Relationships>
</file>

<file path=ppt/charts/_rels/chart129.xml.rels><?xml version="1.0" encoding="UTF-8" standalone="yes"?>
<Relationships xmlns="http://schemas.openxmlformats.org/package/2006/relationships"><Relationship Id="rId2" Type="http://schemas.openxmlformats.org/officeDocument/2006/relationships/package" Target="../embeddings/Microsoft_Excel_Worksheet128.xlsx"/><Relationship Id="rId1" Type="http://schemas.openxmlformats.org/officeDocument/2006/relationships/themeOverride" Target="../theme/themeOverride129.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13.xml"/></Relationships>
</file>

<file path=ppt/charts/_rels/chart130.xml.rels><?xml version="1.0" encoding="UTF-8" standalone="yes"?>
<Relationships xmlns="http://schemas.openxmlformats.org/package/2006/relationships"><Relationship Id="rId2" Type="http://schemas.openxmlformats.org/officeDocument/2006/relationships/package" Target="../embeddings/Microsoft_Excel_Worksheet129.xlsx"/><Relationship Id="rId1" Type="http://schemas.openxmlformats.org/officeDocument/2006/relationships/themeOverride" Target="../theme/themeOverride130.xml"/></Relationships>
</file>

<file path=ppt/charts/_rels/chart131.xml.rels><?xml version="1.0" encoding="UTF-8" standalone="yes"?>
<Relationships xmlns="http://schemas.openxmlformats.org/package/2006/relationships"><Relationship Id="rId2" Type="http://schemas.openxmlformats.org/officeDocument/2006/relationships/package" Target="../embeddings/Microsoft_Excel_Worksheet130.xlsx"/><Relationship Id="rId1" Type="http://schemas.openxmlformats.org/officeDocument/2006/relationships/themeOverride" Target="../theme/themeOverride131.xml"/></Relationships>
</file>

<file path=ppt/charts/_rels/chart132.xml.rels><?xml version="1.0" encoding="UTF-8" standalone="yes"?>
<Relationships xmlns="http://schemas.openxmlformats.org/package/2006/relationships"><Relationship Id="rId2" Type="http://schemas.openxmlformats.org/officeDocument/2006/relationships/package" Target="../embeddings/Microsoft_Excel_Worksheet131.xlsx"/><Relationship Id="rId1" Type="http://schemas.openxmlformats.org/officeDocument/2006/relationships/themeOverride" Target="../theme/themeOverride132.xml"/></Relationships>
</file>

<file path=ppt/charts/_rels/chart133.xml.rels><?xml version="1.0" encoding="UTF-8" standalone="yes"?>
<Relationships xmlns="http://schemas.openxmlformats.org/package/2006/relationships"><Relationship Id="rId2" Type="http://schemas.openxmlformats.org/officeDocument/2006/relationships/package" Target="../embeddings/Microsoft_Excel_Worksheet132.xlsx"/><Relationship Id="rId1" Type="http://schemas.openxmlformats.org/officeDocument/2006/relationships/themeOverride" Target="../theme/themeOverride133.xml"/></Relationships>
</file>

<file path=ppt/charts/_rels/chart134.xml.rels><?xml version="1.0" encoding="UTF-8" standalone="yes"?>
<Relationships xmlns="http://schemas.openxmlformats.org/package/2006/relationships"><Relationship Id="rId2" Type="http://schemas.openxmlformats.org/officeDocument/2006/relationships/package" Target="../embeddings/Microsoft_Excel_Worksheet133.xlsx"/><Relationship Id="rId1" Type="http://schemas.openxmlformats.org/officeDocument/2006/relationships/themeOverride" Target="../theme/themeOverride134.xml"/></Relationships>
</file>

<file path=ppt/charts/_rels/chart135.xml.rels><?xml version="1.0" encoding="UTF-8" standalone="yes"?>
<Relationships xmlns="http://schemas.openxmlformats.org/package/2006/relationships"><Relationship Id="rId2" Type="http://schemas.openxmlformats.org/officeDocument/2006/relationships/package" Target="../embeddings/Microsoft_Excel_Worksheet134.xlsx"/><Relationship Id="rId1" Type="http://schemas.openxmlformats.org/officeDocument/2006/relationships/themeOverride" Target="../theme/themeOverride135.xml"/></Relationships>
</file>

<file path=ppt/charts/_rels/chart136.xml.rels><?xml version="1.0" encoding="UTF-8" standalone="yes"?>
<Relationships xmlns="http://schemas.openxmlformats.org/package/2006/relationships"><Relationship Id="rId2" Type="http://schemas.openxmlformats.org/officeDocument/2006/relationships/package" Target="../embeddings/Microsoft_Excel_Worksheet135.xlsx"/><Relationship Id="rId1" Type="http://schemas.openxmlformats.org/officeDocument/2006/relationships/themeOverride" Target="../theme/themeOverride136.xml"/></Relationships>
</file>

<file path=ppt/charts/_rels/chart137.xml.rels><?xml version="1.0" encoding="UTF-8" standalone="yes"?>
<Relationships xmlns="http://schemas.openxmlformats.org/package/2006/relationships"><Relationship Id="rId2" Type="http://schemas.openxmlformats.org/officeDocument/2006/relationships/package" Target="../embeddings/Microsoft_Excel_Worksheet136.xlsx"/><Relationship Id="rId1" Type="http://schemas.openxmlformats.org/officeDocument/2006/relationships/themeOverride" Target="../theme/themeOverride137.xml"/></Relationships>
</file>

<file path=ppt/charts/_rels/chart138.xml.rels><?xml version="1.0" encoding="UTF-8" standalone="yes"?>
<Relationships xmlns="http://schemas.openxmlformats.org/package/2006/relationships"><Relationship Id="rId2" Type="http://schemas.openxmlformats.org/officeDocument/2006/relationships/package" Target="../embeddings/Microsoft_Excel_Worksheet137.xlsx"/><Relationship Id="rId1" Type="http://schemas.openxmlformats.org/officeDocument/2006/relationships/themeOverride" Target="../theme/themeOverride138.xml"/></Relationships>
</file>

<file path=ppt/charts/_rels/chart139.xml.rels><?xml version="1.0" encoding="UTF-8" standalone="yes"?>
<Relationships xmlns="http://schemas.openxmlformats.org/package/2006/relationships"><Relationship Id="rId2" Type="http://schemas.openxmlformats.org/officeDocument/2006/relationships/package" Target="../embeddings/Microsoft_Excel_Worksheet138.xlsx"/><Relationship Id="rId1" Type="http://schemas.openxmlformats.org/officeDocument/2006/relationships/themeOverride" Target="../theme/themeOverride139.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14.xml"/></Relationships>
</file>

<file path=ppt/charts/_rels/chart140.xml.rels><?xml version="1.0" encoding="UTF-8" standalone="yes"?>
<Relationships xmlns="http://schemas.openxmlformats.org/package/2006/relationships"><Relationship Id="rId2" Type="http://schemas.openxmlformats.org/officeDocument/2006/relationships/package" Target="../embeddings/Microsoft_Excel_Worksheet139.xlsx"/><Relationship Id="rId1" Type="http://schemas.openxmlformats.org/officeDocument/2006/relationships/themeOverride" Target="../theme/themeOverride140.xml"/></Relationships>
</file>

<file path=ppt/charts/_rels/chart141.xml.rels><?xml version="1.0" encoding="UTF-8" standalone="yes"?>
<Relationships xmlns="http://schemas.openxmlformats.org/package/2006/relationships"><Relationship Id="rId2" Type="http://schemas.openxmlformats.org/officeDocument/2006/relationships/package" Target="../embeddings/Microsoft_Excel_Worksheet140.xlsx"/><Relationship Id="rId1" Type="http://schemas.openxmlformats.org/officeDocument/2006/relationships/themeOverride" Target="../theme/themeOverride141.xml"/></Relationships>
</file>

<file path=ppt/charts/_rels/chart142.xml.rels><?xml version="1.0" encoding="UTF-8" standalone="yes"?>
<Relationships xmlns="http://schemas.openxmlformats.org/package/2006/relationships"><Relationship Id="rId2" Type="http://schemas.openxmlformats.org/officeDocument/2006/relationships/package" Target="../embeddings/Microsoft_Excel_Worksheet141.xlsx"/><Relationship Id="rId1" Type="http://schemas.openxmlformats.org/officeDocument/2006/relationships/themeOverride" Target="../theme/themeOverride142.xml"/></Relationships>
</file>

<file path=ppt/charts/_rels/chart143.xml.rels><?xml version="1.0" encoding="UTF-8" standalone="yes"?>
<Relationships xmlns="http://schemas.openxmlformats.org/package/2006/relationships"><Relationship Id="rId2" Type="http://schemas.openxmlformats.org/officeDocument/2006/relationships/package" Target="../embeddings/Microsoft_Excel_Worksheet142.xlsx"/><Relationship Id="rId1" Type="http://schemas.openxmlformats.org/officeDocument/2006/relationships/themeOverride" Target="../theme/themeOverride143.xml"/></Relationships>
</file>

<file path=ppt/charts/_rels/chart144.xml.rels><?xml version="1.0" encoding="UTF-8" standalone="yes"?>
<Relationships xmlns="http://schemas.openxmlformats.org/package/2006/relationships"><Relationship Id="rId2" Type="http://schemas.openxmlformats.org/officeDocument/2006/relationships/package" Target="../embeddings/Microsoft_Excel_Worksheet143.xlsx"/><Relationship Id="rId1" Type="http://schemas.openxmlformats.org/officeDocument/2006/relationships/themeOverride" Target="../theme/themeOverride144.xml"/></Relationships>
</file>

<file path=ppt/charts/_rels/chart145.xml.rels><?xml version="1.0" encoding="UTF-8" standalone="yes"?>
<Relationships xmlns="http://schemas.openxmlformats.org/package/2006/relationships"><Relationship Id="rId2" Type="http://schemas.openxmlformats.org/officeDocument/2006/relationships/package" Target="../embeddings/Microsoft_Excel_Worksheet144.xlsx"/><Relationship Id="rId1" Type="http://schemas.openxmlformats.org/officeDocument/2006/relationships/themeOverride" Target="../theme/themeOverride145.xml"/></Relationships>
</file>

<file path=ppt/charts/_rels/chart146.xml.rels><?xml version="1.0" encoding="UTF-8" standalone="yes"?>
<Relationships xmlns="http://schemas.openxmlformats.org/package/2006/relationships"><Relationship Id="rId2" Type="http://schemas.openxmlformats.org/officeDocument/2006/relationships/package" Target="../embeddings/Microsoft_Excel_Worksheet145.xlsx"/><Relationship Id="rId1" Type="http://schemas.openxmlformats.org/officeDocument/2006/relationships/themeOverride" Target="../theme/themeOverride146.xml"/></Relationships>
</file>

<file path=ppt/charts/_rels/chart147.xml.rels><?xml version="1.0" encoding="UTF-8" standalone="yes"?>
<Relationships xmlns="http://schemas.openxmlformats.org/package/2006/relationships"><Relationship Id="rId2" Type="http://schemas.openxmlformats.org/officeDocument/2006/relationships/package" Target="../embeddings/Microsoft_Excel_Worksheet146.xlsx"/><Relationship Id="rId1" Type="http://schemas.openxmlformats.org/officeDocument/2006/relationships/themeOverride" Target="../theme/themeOverride147.xml"/></Relationships>
</file>

<file path=ppt/charts/_rels/chart148.xml.rels><?xml version="1.0" encoding="UTF-8" standalone="yes"?>
<Relationships xmlns="http://schemas.openxmlformats.org/package/2006/relationships"><Relationship Id="rId2" Type="http://schemas.openxmlformats.org/officeDocument/2006/relationships/package" Target="../embeddings/Microsoft_Excel_Worksheet147.xlsx"/><Relationship Id="rId1" Type="http://schemas.openxmlformats.org/officeDocument/2006/relationships/themeOverride" Target="../theme/themeOverride148.xml"/></Relationships>
</file>

<file path=ppt/charts/_rels/chart149.xml.rels><?xml version="1.0" encoding="UTF-8" standalone="yes"?>
<Relationships xmlns="http://schemas.openxmlformats.org/package/2006/relationships"><Relationship Id="rId2" Type="http://schemas.openxmlformats.org/officeDocument/2006/relationships/package" Target="../embeddings/Microsoft_Excel_Worksheet148.xlsx"/><Relationship Id="rId1" Type="http://schemas.openxmlformats.org/officeDocument/2006/relationships/themeOverride" Target="../theme/themeOverride149.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15.xml"/></Relationships>
</file>

<file path=ppt/charts/_rels/chart150.xml.rels><?xml version="1.0" encoding="UTF-8" standalone="yes"?>
<Relationships xmlns="http://schemas.openxmlformats.org/package/2006/relationships"><Relationship Id="rId2" Type="http://schemas.openxmlformats.org/officeDocument/2006/relationships/package" Target="../embeddings/Microsoft_Excel_Worksheet149.xlsx"/><Relationship Id="rId1" Type="http://schemas.openxmlformats.org/officeDocument/2006/relationships/themeOverride" Target="../theme/themeOverride150.xml"/></Relationships>
</file>

<file path=ppt/charts/_rels/chart151.xml.rels><?xml version="1.0" encoding="UTF-8" standalone="yes"?>
<Relationships xmlns="http://schemas.openxmlformats.org/package/2006/relationships"><Relationship Id="rId2" Type="http://schemas.openxmlformats.org/officeDocument/2006/relationships/package" Target="../embeddings/Microsoft_Excel_Worksheet150.xlsx"/><Relationship Id="rId1" Type="http://schemas.openxmlformats.org/officeDocument/2006/relationships/themeOverride" Target="../theme/themeOverride151.xml"/></Relationships>
</file>

<file path=ppt/charts/_rels/chart152.xml.rels><?xml version="1.0" encoding="UTF-8" standalone="yes"?>
<Relationships xmlns="http://schemas.openxmlformats.org/package/2006/relationships"><Relationship Id="rId2" Type="http://schemas.openxmlformats.org/officeDocument/2006/relationships/package" Target="../embeddings/Microsoft_Excel_Worksheet151.xlsx"/><Relationship Id="rId1" Type="http://schemas.openxmlformats.org/officeDocument/2006/relationships/themeOverride" Target="../theme/themeOverride152.xml"/></Relationships>
</file>

<file path=ppt/charts/_rels/chart153.xml.rels><?xml version="1.0" encoding="UTF-8" standalone="yes"?>
<Relationships xmlns="http://schemas.openxmlformats.org/package/2006/relationships"><Relationship Id="rId2" Type="http://schemas.openxmlformats.org/officeDocument/2006/relationships/package" Target="../embeddings/Microsoft_Excel_Worksheet152.xlsx"/><Relationship Id="rId1" Type="http://schemas.openxmlformats.org/officeDocument/2006/relationships/themeOverride" Target="../theme/themeOverride153.xml"/></Relationships>
</file>

<file path=ppt/charts/_rels/chart154.xml.rels><?xml version="1.0" encoding="UTF-8" standalone="yes"?>
<Relationships xmlns="http://schemas.openxmlformats.org/package/2006/relationships"><Relationship Id="rId2" Type="http://schemas.openxmlformats.org/officeDocument/2006/relationships/package" Target="../embeddings/Microsoft_Excel_Worksheet153.xlsx"/><Relationship Id="rId1" Type="http://schemas.openxmlformats.org/officeDocument/2006/relationships/themeOverride" Target="../theme/themeOverride154.xml"/></Relationships>
</file>

<file path=ppt/charts/_rels/chart155.xml.rels><?xml version="1.0" encoding="UTF-8" standalone="yes"?>
<Relationships xmlns="http://schemas.openxmlformats.org/package/2006/relationships"><Relationship Id="rId2" Type="http://schemas.openxmlformats.org/officeDocument/2006/relationships/package" Target="../embeddings/Microsoft_Excel_Worksheet154.xlsx"/><Relationship Id="rId1" Type="http://schemas.openxmlformats.org/officeDocument/2006/relationships/themeOverride" Target="../theme/themeOverride155.xml"/></Relationships>
</file>

<file path=ppt/charts/_rels/chart156.xml.rels><?xml version="1.0" encoding="UTF-8" standalone="yes"?>
<Relationships xmlns="http://schemas.openxmlformats.org/package/2006/relationships"><Relationship Id="rId2" Type="http://schemas.openxmlformats.org/officeDocument/2006/relationships/package" Target="../embeddings/Microsoft_Excel_Worksheet155.xlsx"/><Relationship Id="rId1" Type="http://schemas.openxmlformats.org/officeDocument/2006/relationships/themeOverride" Target="../theme/themeOverride156.xml"/></Relationships>
</file>

<file path=ppt/charts/_rels/chart157.xml.rels><?xml version="1.0" encoding="UTF-8" standalone="yes"?>
<Relationships xmlns="http://schemas.openxmlformats.org/package/2006/relationships"><Relationship Id="rId2" Type="http://schemas.openxmlformats.org/officeDocument/2006/relationships/package" Target="../embeddings/Microsoft_Excel_Worksheet156.xlsx"/><Relationship Id="rId1" Type="http://schemas.openxmlformats.org/officeDocument/2006/relationships/themeOverride" Target="../theme/themeOverride157.xml"/></Relationships>
</file>

<file path=ppt/charts/_rels/chart158.xml.rels><?xml version="1.0" encoding="UTF-8" standalone="yes"?>
<Relationships xmlns="http://schemas.openxmlformats.org/package/2006/relationships"><Relationship Id="rId2" Type="http://schemas.openxmlformats.org/officeDocument/2006/relationships/package" Target="../embeddings/Microsoft_Excel_Worksheet157.xlsx"/><Relationship Id="rId1" Type="http://schemas.openxmlformats.org/officeDocument/2006/relationships/themeOverride" Target="../theme/themeOverride158.xml"/></Relationships>
</file>

<file path=ppt/charts/_rels/chart159.xml.rels><?xml version="1.0" encoding="UTF-8" standalone="yes"?>
<Relationships xmlns="http://schemas.openxmlformats.org/package/2006/relationships"><Relationship Id="rId2" Type="http://schemas.openxmlformats.org/officeDocument/2006/relationships/package" Target="../embeddings/Microsoft_Excel_Worksheet158.xlsx"/><Relationship Id="rId1" Type="http://schemas.openxmlformats.org/officeDocument/2006/relationships/themeOverride" Target="../theme/themeOverride159.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16.xml"/></Relationships>
</file>

<file path=ppt/charts/_rels/chart160.xml.rels><?xml version="1.0" encoding="UTF-8" standalone="yes"?>
<Relationships xmlns="http://schemas.openxmlformats.org/package/2006/relationships"><Relationship Id="rId2" Type="http://schemas.openxmlformats.org/officeDocument/2006/relationships/package" Target="../embeddings/Microsoft_Excel_Worksheet159.xlsx"/><Relationship Id="rId1" Type="http://schemas.openxmlformats.org/officeDocument/2006/relationships/themeOverride" Target="../theme/themeOverride160.xml"/></Relationships>
</file>

<file path=ppt/charts/_rels/chart161.xml.rels><?xml version="1.0" encoding="UTF-8" standalone="yes"?>
<Relationships xmlns="http://schemas.openxmlformats.org/package/2006/relationships"><Relationship Id="rId2" Type="http://schemas.openxmlformats.org/officeDocument/2006/relationships/package" Target="../embeddings/Microsoft_Excel_Worksheet160.xlsx"/><Relationship Id="rId1" Type="http://schemas.openxmlformats.org/officeDocument/2006/relationships/themeOverride" Target="../theme/themeOverride161.xml"/></Relationships>
</file>

<file path=ppt/charts/_rels/chart162.xml.rels><?xml version="1.0" encoding="UTF-8" standalone="yes"?>
<Relationships xmlns="http://schemas.openxmlformats.org/package/2006/relationships"><Relationship Id="rId2" Type="http://schemas.openxmlformats.org/officeDocument/2006/relationships/package" Target="../embeddings/Microsoft_Excel_Worksheet161.xlsx"/><Relationship Id="rId1" Type="http://schemas.openxmlformats.org/officeDocument/2006/relationships/themeOverride" Target="../theme/themeOverride162.xml"/></Relationships>
</file>

<file path=ppt/charts/_rels/chart163.xml.rels><?xml version="1.0" encoding="UTF-8" standalone="yes"?>
<Relationships xmlns="http://schemas.openxmlformats.org/package/2006/relationships"><Relationship Id="rId2" Type="http://schemas.openxmlformats.org/officeDocument/2006/relationships/package" Target="../embeddings/Microsoft_Excel_Worksheet162.xlsx"/><Relationship Id="rId1" Type="http://schemas.openxmlformats.org/officeDocument/2006/relationships/themeOverride" Target="../theme/themeOverride163.xml"/></Relationships>
</file>

<file path=ppt/charts/_rels/chart164.xml.rels><?xml version="1.0" encoding="UTF-8" standalone="yes"?>
<Relationships xmlns="http://schemas.openxmlformats.org/package/2006/relationships"><Relationship Id="rId2" Type="http://schemas.openxmlformats.org/officeDocument/2006/relationships/package" Target="../embeddings/Microsoft_Excel_Worksheet163.xlsx"/><Relationship Id="rId1" Type="http://schemas.openxmlformats.org/officeDocument/2006/relationships/themeOverride" Target="../theme/themeOverride164.xml"/></Relationships>
</file>

<file path=ppt/charts/_rels/chart165.xml.rels><?xml version="1.0" encoding="UTF-8" standalone="yes"?>
<Relationships xmlns="http://schemas.openxmlformats.org/package/2006/relationships"><Relationship Id="rId2" Type="http://schemas.openxmlformats.org/officeDocument/2006/relationships/package" Target="../embeddings/Microsoft_Excel_Worksheet164.xlsx"/><Relationship Id="rId1" Type="http://schemas.openxmlformats.org/officeDocument/2006/relationships/themeOverride" Target="../theme/themeOverride165.xml"/></Relationships>
</file>

<file path=ppt/charts/_rels/chart166.xml.rels><?xml version="1.0" encoding="UTF-8" standalone="yes"?>
<Relationships xmlns="http://schemas.openxmlformats.org/package/2006/relationships"><Relationship Id="rId2" Type="http://schemas.openxmlformats.org/officeDocument/2006/relationships/package" Target="../embeddings/Microsoft_Excel_Worksheet165.xlsx"/><Relationship Id="rId1" Type="http://schemas.openxmlformats.org/officeDocument/2006/relationships/themeOverride" Target="../theme/themeOverride166.xml"/></Relationships>
</file>

<file path=ppt/charts/_rels/chart167.xml.rels><?xml version="1.0" encoding="UTF-8" standalone="yes"?>
<Relationships xmlns="http://schemas.openxmlformats.org/package/2006/relationships"><Relationship Id="rId2" Type="http://schemas.openxmlformats.org/officeDocument/2006/relationships/package" Target="../embeddings/Microsoft_Excel_Worksheet166.xlsx"/><Relationship Id="rId1" Type="http://schemas.openxmlformats.org/officeDocument/2006/relationships/themeOverride" Target="../theme/themeOverride167.xml"/></Relationships>
</file>

<file path=ppt/charts/_rels/chart168.xml.rels><?xml version="1.0" encoding="UTF-8" standalone="yes"?>
<Relationships xmlns="http://schemas.openxmlformats.org/package/2006/relationships"><Relationship Id="rId2" Type="http://schemas.openxmlformats.org/officeDocument/2006/relationships/package" Target="../embeddings/Microsoft_Excel_Worksheet167.xlsx"/><Relationship Id="rId1" Type="http://schemas.openxmlformats.org/officeDocument/2006/relationships/themeOverride" Target="../theme/themeOverride168.xml"/></Relationships>
</file>

<file path=ppt/charts/_rels/chart169.xml.rels><?xml version="1.0" encoding="UTF-8" standalone="yes"?>
<Relationships xmlns="http://schemas.openxmlformats.org/package/2006/relationships"><Relationship Id="rId2" Type="http://schemas.openxmlformats.org/officeDocument/2006/relationships/package" Target="../embeddings/Microsoft_Excel_Worksheet168.xlsx"/><Relationship Id="rId1" Type="http://schemas.openxmlformats.org/officeDocument/2006/relationships/themeOverride" Target="../theme/themeOverride169.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7.xml"/></Relationships>
</file>

<file path=ppt/charts/_rels/chart170.xml.rels><?xml version="1.0" encoding="UTF-8" standalone="yes"?>
<Relationships xmlns="http://schemas.openxmlformats.org/package/2006/relationships"><Relationship Id="rId2" Type="http://schemas.openxmlformats.org/officeDocument/2006/relationships/package" Target="../embeddings/Microsoft_Excel_Worksheet169.xlsx"/><Relationship Id="rId1" Type="http://schemas.openxmlformats.org/officeDocument/2006/relationships/themeOverride" Target="../theme/themeOverride170.xml"/></Relationships>
</file>

<file path=ppt/charts/_rels/chart171.xml.rels><?xml version="1.0" encoding="UTF-8" standalone="yes"?>
<Relationships xmlns="http://schemas.openxmlformats.org/package/2006/relationships"><Relationship Id="rId2" Type="http://schemas.openxmlformats.org/officeDocument/2006/relationships/package" Target="../embeddings/Microsoft_Excel_Worksheet170.xlsx"/><Relationship Id="rId1" Type="http://schemas.openxmlformats.org/officeDocument/2006/relationships/themeOverride" Target="../theme/themeOverride171.xml"/></Relationships>
</file>

<file path=ppt/charts/_rels/chart172.xml.rels><?xml version="1.0" encoding="UTF-8" standalone="yes"?>
<Relationships xmlns="http://schemas.openxmlformats.org/package/2006/relationships"><Relationship Id="rId2" Type="http://schemas.openxmlformats.org/officeDocument/2006/relationships/package" Target="../embeddings/Microsoft_Excel_Worksheet171.xlsx"/><Relationship Id="rId1" Type="http://schemas.openxmlformats.org/officeDocument/2006/relationships/themeOverride" Target="../theme/themeOverride172.xml"/></Relationships>
</file>

<file path=ppt/charts/_rels/chart173.xml.rels><?xml version="1.0" encoding="UTF-8" standalone="yes"?>
<Relationships xmlns="http://schemas.openxmlformats.org/package/2006/relationships"><Relationship Id="rId2" Type="http://schemas.openxmlformats.org/officeDocument/2006/relationships/package" Target="../embeddings/Microsoft_Excel_Worksheet172.xlsx"/><Relationship Id="rId1" Type="http://schemas.openxmlformats.org/officeDocument/2006/relationships/themeOverride" Target="../theme/themeOverride173.xml"/></Relationships>
</file>

<file path=ppt/charts/_rels/chart174.xml.rels><?xml version="1.0" encoding="UTF-8" standalone="yes"?>
<Relationships xmlns="http://schemas.openxmlformats.org/package/2006/relationships"><Relationship Id="rId2" Type="http://schemas.openxmlformats.org/officeDocument/2006/relationships/package" Target="../embeddings/Microsoft_Excel_Worksheet173.xlsx"/><Relationship Id="rId1" Type="http://schemas.openxmlformats.org/officeDocument/2006/relationships/themeOverride" Target="../theme/themeOverride174.xml"/></Relationships>
</file>

<file path=ppt/charts/_rels/chart175.xml.rels><?xml version="1.0" encoding="UTF-8" standalone="yes"?>
<Relationships xmlns="http://schemas.openxmlformats.org/package/2006/relationships"><Relationship Id="rId2" Type="http://schemas.openxmlformats.org/officeDocument/2006/relationships/package" Target="../embeddings/Microsoft_Excel_Worksheet174.xlsx"/><Relationship Id="rId1" Type="http://schemas.openxmlformats.org/officeDocument/2006/relationships/themeOverride" Target="../theme/themeOverride175.xml"/></Relationships>
</file>

<file path=ppt/charts/_rels/chart176.xml.rels><?xml version="1.0" encoding="UTF-8" standalone="yes"?>
<Relationships xmlns="http://schemas.openxmlformats.org/package/2006/relationships"><Relationship Id="rId2" Type="http://schemas.openxmlformats.org/officeDocument/2006/relationships/package" Target="../embeddings/Microsoft_Excel_Worksheet175.xlsx"/><Relationship Id="rId1" Type="http://schemas.openxmlformats.org/officeDocument/2006/relationships/themeOverride" Target="../theme/themeOverride176.xml"/></Relationships>
</file>

<file path=ppt/charts/_rels/chart177.xml.rels><?xml version="1.0" encoding="UTF-8" standalone="yes"?>
<Relationships xmlns="http://schemas.openxmlformats.org/package/2006/relationships"><Relationship Id="rId2" Type="http://schemas.openxmlformats.org/officeDocument/2006/relationships/package" Target="../embeddings/Microsoft_Excel_Worksheet176.xlsx"/><Relationship Id="rId1" Type="http://schemas.openxmlformats.org/officeDocument/2006/relationships/themeOverride" Target="../theme/themeOverride177.xml"/></Relationships>
</file>

<file path=ppt/charts/_rels/chart178.xml.rels><?xml version="1.0" encoding="UTF-8" standalone="yes"?>
<Relationships xmlns="http://schemas.openxmlformats.org/package/2006/relationships"><Relationship Id="rId2" Type="http://schemas.openxmlformats.org/officeDocument/2006/relationships/package" Target="../embeddings/Microsoft_Excel_Worksheet177.xlsx"/><Relationship Id="rId1" Type="http://schemas.openxmlformats.org/officeDocument/2006/relationships/themeOverride" Target="../theme/themeOverride178.xml"/></Relationships>
</file>

<file path=ppt/charts/_rels/chart179.xml.rels><?xml version="1.0" encoding="UTF-8" standalone="yes"?>
<Relationships xmlns="http://schemas.openxmlformats.org/package/2006/relationships"><Relationship Id="rId2" Type="http://schemas.openxmlformats.org/officeDocument/2006/relationships/package" Target="../embeddings/Microsoft_Excel_Worksheet178.xlsx"/><Relationship Id="rId1" Type="http://schemas.openxmlformats.org/officeDocument/2006/relationships/themeOverride" Target="../theme/themeOverride179.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18.xml"/></Relationships>
</file>

<file path=ppt/charts/_rels/chart180.xml.rels><?xml version="1.0" encoding="UTF-8" standalone="yes"?>
<Relationships xmlns="http://schemas.openxmlformats.org/package/2006/relationships"><Relationship Id="rId2" Type="http://schemas.openxmlformats.org/officeDocument/2006/relationships/package" Target="../embeddings/Microsoft_Excel_Worksheet179.xlsx"/><Relationship Id="rId1" Type="http://schemas.openxmlformats.org/officeDocument/2006/relationships/themeOverride" Target="../theme/themeOverride180.xml"/></Relationships>
</file>

<file path=ppt/charts/_rels/chart181.xml.rels><?xml version="1.0" encoding="UTF-8" standalone="yes"?>
<Relationships xmlns="http://schemas.openxmlformats.org/package/2006/relationships"><Relationship Id="rId2" Type="http://schemas.openxmlformats.org/officeDocument/2006/relationships/package" Target="../embeddings/Microsoft_Excel_Worksheet180.xlsx"/><Relationship Id="rId1" Type="http://schemas.openxmlformats.org/officeDocument/2006/relationships/themeOverride" Target="../theme/themeOverride181.xml"/></Relationships>
</file>

<file path=ppt/charts/_rels/chart182.xml.rels><?xml version="1.0" encoding="UTF-8" standalone="yes"?>
<Relationships xmlns="http://schemas.openxmlformats.org/package/2006/relationships"><Relationship Id="rId2" Type="http://schemas.openxmlformats.org/officeDocument/2006/relationships/package" Target="../embeddings/Microsoft_Excel_Worksheet181.xlsx"/><Relationship Id="rId1" Type="http://schemas.openxmlformats.org/officeDocument/2006/relationships/themeOverride" Target="../theme/themeOverride182.xml"/></Relationships>
</file>

<file path=ppt/charts/_rels/chart183.xml.rels><?xml version="1.0" encoding="UTF-8" standalone="yes"?>
<Relationships xmlns="http://schemas.openxmlformats.org/package/2006/relationships"><Relationship Id="rId2" Type="http://schemas.openxmlformats.org/officeDocument/2006/relationships/package" Target="../embeddings/Microsoft_Excel_Worksheet182.xlsx"/><Relationship Id="rId1" Type="http://schemas.openxmlformats.org/officeDocument/2006/relationships/themeOverride" Target="../theme/themeOverride183.xml"/></Relationships>
</file>

<file path=ppt/charts/_rels/chart184.xml.rels><?xml version="1.0" encoding="UTF-8" standalone="yes"?>
<Relationships xmlns="http://schemas.openxmlformats.org/package/2006/relationships"><Relationship Id="rId2" Type="http://schemas.openxmlformats.org/officeDocument/2006/relationships/package" Target="../embeddings/Microsoft_Excel_Worksheet183.xlsx"/><Relationship Id="rId1" Type="http://schemas.openxmlformats.org/officeDocument/2006/relationships/themeOverride" Target="../theme/themeOverride184.xml"/></Relationships>
</file>

<file path=ppt/charts/_rels/chart185.xml.rels><?xml version="1.0" encoding="UTF-8" standalone="yes"?>
<Relationships xmlns="http://schemas.openxmlformats.org/package/2006/relationships"><Relationship Id="rId2" Type="http://schemas.openxmlformats.org/officeDocument/2006/relationships/package" Target="../embeddings/Microsoft_Excel_Worksheet184.xlsx"/><Relationship Id="rId1" Type="http://schemas.openxmlformats.org/officeDocument/2006/relationships/themeOverride" Target="../theme/themeOverride185.xml"/></Relationships>
</file>

<file path=ppt/charts/_rels/chart186.xml.rels><?xml version="1.0" encoding="UTF-8" standalone="yes"?>
<Relationships xmlns="http://schemas.openxmlformats.org/package/2006/relationships"><Relationship Id="rId2" Type="http://schemas.openxmlformats.org/officeDocument/2006/relationships/package" Target="../embeddings/Microsoft_Excel_Worksheet185.xlsx"/><Relationship Id="rId1" Type="http://schemas.openxmlformats.org/officeDocument/2006/relationships/themeOverride" Target="../theme/themeOverride186.xml"/></Relationships>
</file>

<file path=ppt/charts/_rels/chart187.xml.rels><?xml version="1.0" encoding="UTF-8" standalone="yes"?>
<Relationships xmlns="http://schemas.openxmlformats.org/package/2006/relationships"><Relationship Id="rId2" Type="http://schemas.openxmlformats.org/officeDocument/2006/relationships/package" Target="../embeddings/Microsoft_Excel_Worksheet186.xlsx"/><Relationship Id="rId1" Type="http://schemas.openxmlformats.org/officeDocument/2006/relationships/themeOverride" Target="../theme/themeOverride187.xml"/></Relationships>
</file>

<file path=ppt/charts/_rels/chart188.xml.rels><?xml version="1.0" encoding="UTF-8" standalone="yes"?>
<Relationships xmlns="http://schemas.openxmlformats.org/package/2006/relationships"><Relationship Id="rId2" Type="http://schemas.openxmlformats.org/officeDocument/2006/relationships/package" Target="../embeddings/Microsoft_Excel_Worksheet187.xlsx"/><Relationship Id="rId1" Type="http://schemas.openxmlformats.org/officeDocument/2006/relationships/themeOverride" Target="../theme/themeOverride188.xml"/></Relationships>
</file>

<file path=ppt/charts/_rels/chart189.xml.rels><?xml version="1.0" encoding="UTF-8" standalone="yes"?>
<Relationships xmlns="http://schemas.openxmlformats.org/package/2006/relationships"><Relationship Id="rId2" Type="http://schemas.openxmlformats.org/officeDocument/2006/relationships/package" Target="../embeddings/Microsoft_Excel_Worksheet188.xlsx"/><Relationship Id="rId1" Type="http://schemas.openxmlformats.org/officeDocument/2006/relationships/themeOverride" Target="../theme/themeOverride189.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9.xml"/></Relationships>
</file>

<file path=ppt/charts/_rels/chart190.xml.rels><?xml version="1.0" encoding="UTF-8" standalone="yes"?>
<Relationships xmlns="http://schemas.openxmlformats.org/package/2006/relationships"><Relationship Id="rId2" Type="http://schemas.openxmlformats.org/officeDocument/2006/relationships/package" Target="../embeddings/Microsoft_Excel_Worksheet189.xlsx"/><Relationship Id="rId1" Type="http://schemas.openxmlformats.org/officeDocument/2006/relationships/themeOverride" Target="../theme/themeOverride190.xml"/></Relationships>
</file>

<file path=ppt/charts/_rels/chart191.xml.rels><?xml version="1.0" encoding="UTF-8" standalone="yes"?>
<Relationships xmlns="http://schemas.openxmlformats.org/package/2006/relationships"><Relationship Id="rId2" Type="http://schemas.openxmlformats.org/officeDocument/2006/relationships/package" Target="../embeddings/Microsoft_Excel_Worksheet190.xlsx"/><Relationship Id="rId1" Type="http://schemas.openxmlformats.org/officeDocument/2006/relationships/themeOverride" Target="../theme/themeOverride191.xml"/></Relationships>
</file>

<file path=ppt/charts/_rels/chart192.xml.rels><?xml version="1.0" encoding="UTF-8" standalone="yes"?>
<Relationships xmlns="http://schemas.openxmlformats.org/package/2006/relationships"><Relationship Id="rId2" Type="http://schemas.openxmlformats.org/officeDocument/2006/relationships/package" Target="../embeddings/Microsoft_Excel_Worksheet191.xlsx"/><Relationship Id="rId1" Type="http://schemas.openxmlformats.org/officeDocument/2006/relationships/themeOverride" Target="../theme/themeOverride192.xml"/></Relationships>
</file>

<file path=ppt/charts/_rels/chart193.xml.rels><?xml version="1.0" encoding="UTF-8" standalone="yes"?>
<Relationships xmlns="http://schemas.openxmlformats.org/package/2006/relationships"><Relationship Id="rId2" Type="http://schemas.openxmlformats.org/officeDocument/2006/relationships/package" Target="../embeddings/Microsoft_Excel_Worksheet192.xlsx"/><Relationship Id="rId1" Type="http://schemas.openxmlformats.org/officeDocument/2006/relationships/themeOverride" Target="../theme/themeOverride193.xml"/></Relationships>
</file>

<file path=ppt/charts/_rels/chart194.xml.rels><?xml version="1.0" encoding="UTF-8" standalone="yes"?>
<Relationships xmlns="http://schemas.openxmlformats.org/package/2006/relationships"><Relationship Id="rId2" Type="http://schemas.openxmlformats.org/officeDocument/2006/relationships/package" Target="../embeddings/Microsoft_Excel_Worksheet193.xlsx"/><Relationship Id="rId1" Type="http://schemas.openxmlformats.org/officeDocument/2006/relationships/themeOverride" Target="../theme/themeOverride194.xml"/></Relationships>
</file>

<file path=ppt/charts/_rels/chart195.xml.rels><?xml version="1.0" encoding="UTF-8" standalone="yes"?>
<Relationships xmlns="http://schemas.openxmlformats.org/package/2006/relationships"><Relationship Id="rId2" Type="http://schemas.openxmlformats.org/officeDocument/2006/relationships/package" Target="../embeddings/Microsoft_Excel_Worksheet194.xlsx"/><Relationship Id="rId1" Type="http://schemas.openxmlformats.org/officeDocument/2006/relationships/themeOverride" Target="../theme/themeOverride195.xml"/></Relationships>
</file>

<file path=ppt/charts/_rels/chart196.xml.rels><?xml version="1.0" encoding="UTF-8" standalone="yes"?>
<Relationships xmlns="http://schemas.openxmlformats.org/package/2006/relationships"><Relationship Id="rId2" Type="http://schemas.openxmlformats.org/officeDocument/2006/relationships/package" Target="../embeddings/Microsoft_Excel_Worksheet195.xlsx"/><Relationship Id="rId1" Type="http://schemas.openxmlformats.org/officeDocument/2006/relationships/themeOverride" Target="../theme/themeOverride196.xml"/></Relationships>
</file>

<file path=ppt/charts/_rels/chart197.xml.rels><?xml version="1.0" encoding="UTF-8" standalone="yes"?>
<Relationships xmlns="http://schemas.openxmlformats.org/package/2006/relationships"><Relationship Id="rId2" Type="http://schemas.openxmlformats.org/officeDocument/2006/relationships/package" Target="../embeddings/Microsoft_Excel_Worksheet196.xlsx"/><Relationship Id="rId1" Type="http://schemas.openxmlformats.org/officeDocument/2006/relationships/themeOverride" Target="../theme/themeOverride197.xml"/></Relationships>
</file>

<file path=ppt/charts/_rels/chart198.xml.rels><?xml version="1.0" encoding="UTF-8" standalone="yes"?>
<Relationships xmlns="http://schemas.openxmlformats.org/package/2006/relationships"><Relationship Id="rId2" Type="http://schemas.openxmlformats.org/officeDocument/2006/relationships/package" Target="../embeddings/Microsoft_Excel_Worksheet197.xlsx"/><Relationship Id="rId1" Type="http://schemas.openxmlformats.org/officeDocument/2006/relationships/themeOverride" Target="../theme/themeOverride198.xml"/></Relationships>
</file>

<file path=ppt/charts/_rels/chart199.xml.rels><?xml version="1.0" encoding="UTF-8" standalone="yes"?>
<Relationships xmlns="http://schemas.openxmlformats.org/package/2006/relationships"><Relationship Id="rId2" Type="http://schemas.openxmlformats.org/officeDocument/2006/relationships/package" Target="../embeddings/Microsoft_Excel_Worksheet198.xlsx"/><Relationship Id="rId1" Type="http://schemas.openxmlformats.org/officeDocument/2006/relationships/themeOverride" Target="../theme/themeOverride199.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20.xml"/></Relationships>
</file>

<file path=ppt/charts/_rels/chart200.xml.rels><?xml version="1.0" encoding="UTF-8" standalone="yes"?>
<Relationships xmlns="http://schemas.openxmlformats.org/package/2006/relationships"><Relationship Id="rId2" Type="http://schemas.openxmlformats.org/officeDocument/2006/relationships/package" Target="../embeddings/Microsoft_Excel_Worksheet199.xlsx"/><Relationship Id="rId1" Type="http://schemas.openxmlformats.org/officeDocument/2006/relationships/themeOverride" Target="../theme/themeOverride200.xml"/></Relationships>
</file>

<file path=ppt/charts/_rels/chart201.xml.rels><?xml version="1.0" encoding="UTF-8" standalone="yes"?>
<Relationships xmlns="http://schemas.openxmlformats.org/package/2006/relationships"><Relationship Id="rId2" Type="http://schemas.openxmlformats.org/officeDocument/2006/relationships/package" Target="../embeddings/Microsoft_Excel_Worksheet200.xlsx"/><Relationship Id="rId1" Type="http://schemas.openxmlformats.org/officeDocument/2006/relationships/themeOverride" Target="../theme/themeOverride201.xml"/></Relationships>
</file>

<file path=ppt/charts/_rels/chart202.xml.rels><?xml version="1.0" encoding="UTF-8" standalone="yes"?>
<Relationships xmlns="http://schemas.openxmlformats.org/package/2006/relationships"><Relationship Id="rId2" Type="http://schemas.openxmlformats.org/officeDocument/2006/relationships/package" Target="../embeddings/Microsoft_Excel_Worksheet201.xlsx"/><Relationship Id="rId1" Type="http://schemas.openxmlformats.org/officeDocument/2006/relationships/themeOverride" Target="../theme/themeOverride202.xml"/></Relationships>
</file>

<file path=ppt/charts/_rels/chart203.xml.rels><?xml version="1.0" encoding="UTF-8" standalone="yes"?>
<Relationships xmlns="http://schemas.openxmlformats.org/package/2006/relationships"><Relationship Id="rId2" Type="http://schemas.openxmlformats.org/officeDocument/2006/relationships/package" Target="../embeddings/Microsoft_Excel_Worksheet202.xlsx"/><Relationship Id="rId1" Type="http://schemas.openxmlformats.org/officeDocument/2006/relationships/themeOverride" Target="../theme/themeOverride203.xml"/></Relationships>
</file>

<file path=ppt/charts/_rels/chart204.xml.rels><?xml version="1.0" encoding="UTF-8" standalone="yes"?>
<Relationships xmlns="http://schemas.openxmlformats.org/package/2006/relationships"><Relationship Id="rId2" Type="http://schemas.openxmlformats.org/officeDocument/2006/relationships/package" Target="../embeddings/Microsoft_Excel_Worksheet203.xlsx"/><Relationship Id="rId1" Type="http://schemas.openxmlformats.org/officeDocument/2006/relationships/themeOverride" Target="../theme/themeOverride204.xml"/></Relationships>
</file>

<file path=ppt/charts/_rels/chart205.xml.rels><?xml version="1.0" encoding="UTF-8" standalone="yes"?>
<Relationships xmlns="http://schemas.openxmlformats.org/package/2006/relationships"><Relationship Id="rId2" Type="http://schemas.openxmlformats.org/officeDocument/2006/relationships/package" Target="../embeddings/Microsoft_Excel_Worksheet204.xlsx"/><Relationship Id="rId1" Type="http://schemas.openxmlformats.org/officeDocument/2006/relationships/themeOverride" Target="../theme/themeOverride205.xml"/></Relationships>
</file>

<file path=ppt/charts/_rels/chart206.xml.rels><?xml version="1.0" encoding="UTF-8" standalone="yes"?>
<Relationships xmlns="http://schemas.openxmlformats.org/package/2006/relationships"><Relationship Id="rId2" Type="http://schemas.openxmlformats.org/officeDocument/2006/relationships/package" Target="../embeddings/Microsoft_Excel_Worksheet205.xlsx"/><Relationship Id="rId1" Type="http://schemas.openxmlformats.org/officeDocument/2006/relationships/themeOverride" Target="../theme/themeOverride206.xml"/></Relationships>
</file>

<file path=ppt/charts/_rels/chart207.xml.rels><?xml version="1.0" encoding="UTF-8" standalone="yes"?>
<Relationships xmlns="http://schemas.openxmlformats.org/package/2006/relationships"><Relationship Id="rId2" Type="http://schemas.openxmlformats.org/officeDocument/2006/relationships/package" Target="../embeddings/Microsoft_Excel_Worksheet206.xlsx"/><Relationship Id="rId1" Type="http://schemas.openxmlformats.org/officeDocument/2006/relationships/themeOverride" Target="../theme/themeOverride207.xml"/></Relationships>
</file>

<file path=ppt/charts/_rels/chart208.xml.rels><?xml version="1.0" encoding="UTF-8" standalone="yes"?>
<Relationships xmlns="http://schemas.openxmlformats.org/package/2006/relationships"><Relationship Id="rId2" Type="http://schemas.openxmlformats.org/officeDocument/2006/relationships/package" Target="../embeddings/Microsoft_Excel_Worksheet207.xlsx"/><Relationship Id="rId1" Type="http://schemas.openxmlformats.org/officeDocument/2006/relationships/themeOverride" Target="../theme/themeOverride208.xml"/></Relationships>
</file>

<file path=ppt/charts/_rels/chart209.xml.rels><?xml version="1.0" encoding="UTF-8" standalone="yes"?>
<Relationships xmlns="http://schemas.openxmlformats.org/package/2006/relationships"><Relationship Id="rId2" Type="http://schemas.openxmlformats.org/officeDocument/2006/relationships/package" Target="../embeddings/Microsoft_Excel_Worksheet208.xlsx"/><Relationship Id="rId1" Type="http://schemas.openxmlformats.org/officeDocument/2006/relationships/themeOverride" Target="../theme/themeOverride209.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21.xml"/></Relationships>
</file>

<file path=ppt/charts/_rels/chart210.xml.rels><?xml version="1.0" encoding="UTF-8" standalone="yes"?>
<Relationships xmlns="http://schemas.openxmlformats.org/package/2006/relationships"><Relationship Id="rId2" Type="http://schemas.openxmlformats.org/officeDocument/2006/relationships/package" Target="../embeddings/Microsoft_Excel_Worksheet209.xlsx"/><Relationship Id="rId1" Type="http://schemas.openxmlformats.org/officeDocument/2006/relationships/themeOverride" Target="../theme/themeOverride210.xml"/></Relationships>
</file>

<file path=ppt/charts/_rels/chart211.xml.rels><?xml version="1.0" encoding="UTF-8" standalone="yes"?>
<Relationships xmlns="http://schemas.openxmlformats.org/package/2006/relationships"><Relationship Id="rId2" Type="http://schemas.openxmlformats.org/officeDocument/2006/relationships/package" Target="../embeddings/Microsoft_Excel_Worksheet210.xlsx"/><Relationship Id="rId1" Type="http://schemas.openxmlformats.org/officeDocument/2006/relationships/themeOverride" Target="../theme/themeOverride211.xml"/></Relationships>
</file>

<file path=ppt/charts/_rels/chart212.xml.rels><?xml version="1.0" encoding="UTF-8" standalone="yes"?>
<Relationships xmlns="http://schemas.openxmlformats.org/package/2006/relationships"><Relationship Id="rId2" Type="http://schemas.openxmlformats.org/officeDocument/2006/relationships/package" Target="../embeddings/Microsoft_Excel_Worksheet211.xlsx"/><Relationship Id="rId1" Type="http://schemas.openxmlformats.org/officeDocument/2006/relationships/themeOverride" Target="../theme/themeOverride212.xml"/></Relationships>
</file>

<file path=ppt/charts/_rels/chart213.xml.rels><?xml version="1.0" encoding="UTF-8" standalone="yes"?>
<Relationships xmlns="http://schemas.openxmlformats.org/package/2006/relationships"><Relationship Id="rId2" Type="http://schemas.openxmlformats.org/officeDocument/2006/relationships/package" Target="../embeddings/Microsoft_Excel_Worksheet212.xlsx"/><Relationship Id="rId1" Type="http://schemas.openxmlformats.org/officeDocument/2006/relationships/themeOverride" Target="../theme/themeOverride213.xml"/></Relationships>
</file>

<file path=ppt/charts/_rels/chart214.xml.rels><?xml version="1.0" encoding="UTF-8" standalone="yes"?>
<Relationships xmlns="http://schemas.openxmlformats.org/package/2006/relationships"><Relationship Id="rId2" Type="http://schemas.openxmlformats.org/officeDocument/2006/relationships/package" Target="../embeddings/Microsoft_Excel_Worksheet213.xlsx"/><Relationship Id="rId1" Type="http://schemas.openxmlformats.org/officeDocument/2006/relationships/themeOverride" Target="../theme/themeOverride214.xml"/></Relationships>
</file>

<file path=ppt/charts/_rels/chart215.xml.rels><?xml version="1.0" encoding="UTF-8" standalone="yes"?>
<Relationships xmlns="http://schemas.openxmlformats.org/package/2006/relationships"><Relationship Id="rId2" Type="http://schemas.openxmlformats.org/officeDocument/2006/relationships/package" Target="../embeddings/Microsoft_Excel_Worksheet214.xlsx"/><Relationship Id="rId1" Type="http://schemas.openxmlformats.org/officeDocument/2006/relationships/themeOverride" Target="../theme/themeOverride215.xml"/></Relationships>
</file>

<file path=ppt/charts/_rels/chart216.xml.rels><?xml version="1.0" encoding="UTF-8" standalone="yes"?>
<Relationships xmlns="http://schemas.openxmlformats.org/package/2006/relationships"><Relationship Id="rId2" Type="http://schemas.openxmlformats.org/officeDocument/2006/relationships/package" Target="../embeddings/Microsoft_Excel_Worksheet215.xlsx"/><Relationship Id="rId1" Type="http://schemas.openxmlformats.org/officeDocument/2006/relationships/themeOverride" Target="../theme/themeOverride216.xml"/></Relationships>
</file>

<file path=ppt/charts/_rels/chart217.xml.rels><?xml version="1.0" encoding="UTF-8" standalone="yes"?>
<Relationships xmlns="http://schemas.openxmlformats.org/package/2006/relationships"><Relationship Id="rId2" Type="http://schemas.openxmlformats.org/officeDocument/2006/relationships/package" Target="../embeddings/Microsoft_Excel_Worksheet216.xlsx"/><Relationship Id="rId1" Type="http://schemas.openxmlformats.org/officeDocument/2006/relationships/themeOverride" Target="../theme/themeOverride217.xml"/></Relationships>
</file>

<file path=ppt/charts/_rels/chart218.xml.rels><?xml version="1.0" encoding="UTF-8" standalone="yes"?>
<Relationships xmlns="http://schemas.openxmlformats.org/package/2006/relationships"><Relationship Id="rId2" Type="http://schemas.openxmlformats.org/officeDocument/2006/relationships/package" Target="../embeddings/Microsoft_Excel_Worksheet217.xlsx"/><Relationship Id="rId1" Type="http://schemas.openxmlformats.org/officeDocument/2006/relationships/themeOverride" Target="../theme/themeOverride218.xml"/></Relationships>
</file>

<file path=ppt/charts/_rels/chart219.xml.rels><?xml version="1.0" encoding="UTF-8" standalone="yes"?>
<Relationships xmlns="http://schemas.openxmlformats.org/package/2006/relationships"><Relationship Id="rId2" Type="http://schemas.openxmlformats.org/officeDocument/2006/relationships/package" Target="../embeddings/Microsoft_Excel_Worksheet218.xlsx"/><Relationship Id="rId1" Type="http://schemas.openxmlformats.org/officeDocument/2006/relationships/themeOverride" Target="../theme/themeOverride21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22.xml"/></Relationships>
</file>

<file path=ppt/charts/_rels/chart220.xml.rels><?xml version="1.0" encoding="UTF-8" standalone="yes"?>
<Relationships xmlns="http://schemas.openxmlformats.org/package/2006/relationships"><Relationship Id="rId2" Type="http://schemas.openxmlformats.org/officeDocument/2006/relationships/package" Target="../embeddings/Microsoft_Excel_Worksheet219.xlsx"/><Relationship Id="rId1" Type="http://schemas.openxmlformats.org/officeDocument/2006/relationships/themeOverride" Target="../theme/themeOverride220.xml"/></Relationships>
</file>

<file path=ppt/charts/_rels/chart221.xml.rels><?xml version="1.0" encoding="UTF-8" standalone="yes"?>
<Relationships xmlns="http://schemas.openxmlformats.org/package/2006/relationships"><Relationship Id="rId2" Type="http://schemas.openxmlformats.org/officeDocument/2006/relationships/package" Target="../embeddings/Microsoft_Excel_Worksheet220.xlsx"/><Relationship Id="rId1" Type="http://schemas.openxmlformats.org/officeDocument/2006/relationships/themeOverride" Target="../theme/themeOverride221.xml"/></Relationships>
</file>

<file path=ppt/charts/_rels/chart222.xml.rels><?xml version="1.0" encoding="UTF-8" standalone="yes"?>
<Relationships xmlns="http://schemas.openxmlformats.org/package/2006/relationships"><Relationship Id="rId3" Type="http://schemas.openxmlformats.org/officeDocument/2006/relationships/package" Target="../embeddings/Microsoft_Excel_Worksheet221.xlsx"/><Relationship Id="rId2" Type="http://schemas.microsoft.com/office/2011/relationships/chartColorStyle" Target="colors1.xml"/><Relationship Id="rId1" Type="http://schemas.microsoft.com/office/2011/relationships/chartStyle" Target="style1.xml"/></Relationships>
</file>

<file path=ppt/charts/_rels/chart223.xml.rels><?xml version="1.0" encoding="UTF-8" standalone="yes"?>
<Relationships xmlns="http://schemas.openxmlformats.org/package/2006/relationships"><Relationship Id="rId3" Type="http://schemas.openxmlformats.org/officeDocument/2006/relationships/package" Target="../embeddings/Microsoft_Excel_Worksheet222.xlsx"/><Relationship Id="rId2" Type="http://schemas.microsoft.com/office/2011/relationships/chartColorStyle" Target="colors2.xml"/><Relationship Id="rId1" Type="http://schemas.microsoft.com/office/2011/relationships/chartStyle" Target="style2.xml"/></Relationships>
</file>

<file path=ppt/charts/_rels/chart224.xml.rels><?xml version="1.0" encoding="UTF-8" standalone="yes"?>
<Relationships xmlns="http://schemas.openxmlformats.org/package/2006/relationships"><Relationship Id="rId2" Type="http://schemas.openxmlformats.org/officeDocument/2006/relationships/package" Target="../embeddings/Microsoft_Excel_Worksheet223.xlsx"/><Relationship Id="rId1" Type="http://schemas.openxmlformats.org/officeDocument/2006/relationships/themeOverride" Target="../theme/themeOverride222.xml"/></Relationships>
</file>

<file path=ppt/charts/_rels/chart225.xml.rels><?xml version="1.0" encoding="UTF-8" standalone="yes"?>
<Relationships xmlns="http://schemas.openxmlformats.org/package/2006/relationships"><Relationship Id="rId2" Type="http://schemas.openxmlformats.org/officeDocument/2006/relationships/package" Target="../embeddings/Microsoft_Excel_Worksheet224.xlsx"/><Relationship Id="rId1" Type="http://schemas.openxmlformats.org/officeDocument/2006/relationships/themeOverride" Target="../theme/themeOverride223.xml"/></Relationships>
</file>

<file path=ppt/charts/_rels/chart226.xml.rels><?xml version="1.0" encoding="UTF-8" standalone="yes"?>
<Relationships xmlns="http://schemas.openxmlformats.org/package/2006/relationships"><Relationship Id="rId2" Type="http://schemas.openxmlformats.org/officeDocument/2006/relationships/package" Target="../embeddings/Microsoft_Excel_Worksheet225.xlsx"/><Relationship Id="rId1" Type="http://schemas.openxmlformats.org/officeDocument/2006/relationships/themeOverride" Target="../theme/themeOverride224.xml"/></Relationships>
</file>

<file path=ppt/charts/_rels/chart227.xml.rels><?xml version="1.0" encoding="UTF-8" standalone="yes"?>
<Relationships xmlns="http://schemas.openxmlformats.org/package/2006/relationships"><Relationship Id="rId2" Type="http://schemas.openxmlformats.org/officeDocument/2006/relationships/package" Target="../embeddings/Microsoft_Excel_Worksheet226.xlsx"/><Relationship Id="rId1" Type="http://schemas.openxmlformats.org/officeDocument/2006/relationships/themeOverride" Target="../theme/themeOverride225.xml"/></Relationships>
</file>

<file path=ppt/charts/_rels/chart228.xml.rels><?xml version="1.0" encoding="UTF-8" standalone="yes"?>
<Relationships xmlns="http://schemas.openxmlformats.org/package/2006/relationships"><Relationship Id="rId3" Type="http://schemas.openxmlformats.org/officeDocument/2006/relationships/package" Target="../embeddings/Microsoft_Excel_Worksheet227.xlsx"/><Relationship Id="rId2" Type="http://schemas.microsoft.com/office/2011/relationships/chartColorStyle" Target="colors3.xml"/><Relationship Id="rId1" Type="http://schemas.microsoft.com/office/2011/relationships/chartStyle" Target="style3.xml"/></Relationships>
</file>

<file path=ppt/charts/_rels/chart229.xml.rels><?xml version="1.0" encoding="UTF-8" standalone="yes"?>
<Relationships xmlns="http://schemas.openxmlformats.org/package/2006/relationships"><Relationship Id="rId3" Type="http://schemas.openxmlformats.org/officeDocument/2006/relationships/package" Target="../embeddings/Microsoft_Excel_Worksheet228.xlsx"/><Relationship Id="rId2" Type="http://schemas.microsoft.com/office/2011/relationships/chartColorStyle" Target="colors4.xml"/><Relationship Id="rId1" Type="http://schemas.microsoft.com/office/2011/relationships/chartStyle" Target="style4.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23.xml"/></Relationships>
</file>

<file path=ppt/charts/_rels/chart230.xml.rels><?xml version="1.0" encoding="UTF-8" standalone="yes"?>
<Relationships xmlns="http://schemas.openxmlformats.org/package/2006/relationships"><Relationship Id="rId2" Type="http://schemas.openxmlformats.org/officeDocument/2006/relationships/package" Target="../embeddings/Microsoft_Excel_Worksheet229.xlsx"/><Relationship Id="rId1" Type="http://schemas.openxmlformats.org/officeDocument/2006/relationships/themeOverride" Target="../theme/themeOverride226.xml"/></Relationships>
</file>

<file path=ppt/charts/_rels/chart231.xml.rels><?xml version="1.0" encoding="UTF-8" standalone="yes"?>
<Relationships xmlns="http://schemas.openxmlformats.org/package/2006/relationships"><Relationship Id="rId2" Type="http://schemas.openxmlformats.org/officeDocument/2006/relationships/package" Target="../embeddings/Microsoft_Excel_Worksheet230.xlsx"/><Relationship Id="rId1" Type="http://schemas.openxmlformats.org/officeDocument/2006/relationships/themeOverride" Target="../theme/themeOverride227.xml"/></Relationships>
</file>

<file path=ppt/charts/_rels/chart232.xml.rels><?xml version="1.0" encoding="UTF-8" standalone="yes"?>
<Relationships xmlns="http://schemas.openxmlformats.org/package/2006/relationships"><Relationship Id="rId2" Type="http://schemas.openxmlformats.org/officeDocument/2006/relationships/package" Target="../embeddings/Microsoft_Excel_Worksheet231.xlsx"/><Relationship Id="rId1" Type="http://schemas.openxmlformats.org/officeDocument/2006/relationships/themeOverride" Target="../theme/themeOverride228.xml"/></Relationships>
</file>

<file path=ppt/charts/_rels/chart233.xml.rels><?xml version="1.0" encoding="UTF-8" standalone="yes"?>
<Relationships xmlns="http://schemas.openxmlformats.org/package/2006/relationships"><Relationship Id="rId2" Type="http://schemas.openxmlformats.org/officeDocument/2006/relationships/package" Target="../embeddings/Microsoft_Excel_Worksheet232.xlsx"/><Relationship Id="rId1" Type="http://schemas.openxmlformats.org/officeDocument/2006/relationships/themeOverride" Target="../theme/themeOverride229.xml"/></Relationships>
</file>

<file path=ppt/charts/_rels/chart234.xml.rels><?xml version="1.0" encoding="UTF-8" standalone="yes"?>
<Relationships xmlns="http://schemas.openxmlformats.org/package/2006/relationships"><Relationship Id="rId3" Type="http://schemas.openxmlformats.org/officeDocument/2006/relationships/package" Target="../embeddings/Microsoft_Excel_Worksheet233.xlsx"/><Relationship Id="rId2" Type="http://schemas.microsoft.com/office/2011/relationships/chartColorStyle" Target="colors5.xml"/><Relationship Id="rId1" Type="http://schemas.microsoft.com/office/2011/relationships/chartStyle" Target="style5.xml"/></Relationships>
</file>

<file path=ppt/charts/_rels/chart235.xml.rels><?xml version="1.0" encoding="UTF-8" standalone="yes"?>
<Relationships xmlns="http://schemas.openxmlformats.org/package/2006/relationships"><Relationship Id="rId3" Type="http://schemas.openxmlformats.org/officeDocument/2006/relationships/package" Target="../embeddings/Microsoft_Excel_Worksheet234.xlsx"/><Relationship Id="rId2" Type="http://schemas.microsoft.com/office/2011/relationships/chartColorStyle" Target="colors6.xml"/><Relationship Id="rId1" Type="http://schemas.microsoft.com/office/2011/relationships/chartStyle" Target="style6.xml"/></Relationships>
</file>

<file path=ppt/charts/_rels/chart236.xml.rels><?xml version="1.0" encoding="UTF-8" standalone="yes"?>
<Relationships xmlns="http://schemas.openxmlformats.org/package/2006/relationships"><Relationship Id="rId2" Type="http://schemas.openxmlformats.org/officeDocument/2006/relationships/package" Target="../embeddings/Microsoft_Excel_Worksheet235.xlsx"/><Relationship Id="rId1" Type="http://schemas.openxmlformats.org/officeDocument/2006/relationships/themeOverride" Target="../theme/themeOverride230.xml"/></Relationships>
</file>

<file path=ppt/charts/_rels/chart237.xml.rels><?xml version="1.0" encoding="UTF-8" standalone="yes"?>
<Relationships xmlns="http://schemas.openxmlformats.org/package/2006/relationships"><Relationship Id="rId2" Type="http://schemas.openxmlformats.org/officeDocument/2006/relationships/package" Target="../embeddings/Microsoft_Excel_Worksheet236.xlsx"/><Relationship Id="rId1" Type="http://schemas.openxmlformats.org/officeDocument/2006/relationships/themeOverride" Target="../theme/themeOverride231.xml"/></Relationships>
</file>

<file path=ppt/charts/_rels/chart238.xml.rels><?xml version="1.0" encoding="UTF-8" standalone="yes"?>
<Relationships xmlns="http://schemas.openxmlformats.org/package/2006/relationships"><Relationship Id="rId2" Type="http://schemas.openxmlformats.org/officeDocument/2006/relationships/package" Target="../embeddings/Microsoft_Excel_Worksheet237.xlsx"/><Relationship Id="rId1" Type="http://schemas.openxmlformats.org/officeDocument/2006/relationships/themeOverride" Target="../theme/themeOverride232.xml"/></Relationships>
</file>

<file path=ppt/charts/_rels/chart239.xml.rels><?xml version="1.0" encoding="UTF-8" standalone="yes"?>
<Relationships xmlns="http://schemas.openxmlformats.org/package/2006/relationships"><Relationship Id="rId2" Type="http://schemas.openxmlformats.org/officeDocument/2006/relationships/package" Target="../embeddings/Microsoft_Excel_Worksheet238.xlsx"/><Relationship Id="rId1" Type="http://schemas.openxmlformats.org/officeDocument/2006/relationships/themeOverride" Target="../theme/themeOverride233.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24.xml"/></Relationships>
</file>

<file path=ppt/charts/_rels/chart240.xml.rels><?xml version="1.0" encoding="UTF-8" standalone="yes"?>
<Relationships xmlns="http://schemas.openxmlformats.org/package/2006/relationships"><Relationship Id="rId3" Type="http://schemas.openxmlformats.org/officeDocument/2006/relationships/package" Target="../embeddings/Microsoft_Excel_Worksheet239.xlsx"/><Relationship Id="rId2" Type="http://schemas.microsoft.com/office/2011/relationships/chartColorStyle" Target="colors7.xml"/><Relationship Id="rId1" Type="http://schemas.microsoft.com/office/2011/relationships/chartStyle" Target="style7.xml"/></Relationships>
</file>

<file path=ppt/charts/_rels/chart241.xml.rels><?xml version="1.0" encoding="UTF-8" standalone="yes"?>
<Relationships xmlns="http://schemas.openxmlformats.org/package/2006/relationships"><Relationship Id="rId3" Type="http://schemas.openxmlformats.org/officeDocument/2006/relationships/package" Target="../embeddings/Microsoft_Excel_Worksheet240.xlsx"/><Relationship Id="rId2" Type="http://schemas.microsoft.com/office/2011/relationships/chartColorStyle" Target="colors8.xml"/><Relationship Id="rId1" Type="http://schemas.microsoft.com/office/2011/relationships/chartStyle" Target="style8.xml"/></Relationships>
</file>

<file path=ppt/charts/_rels/chart242.xml.rels><?xml version="1.0" encoding="UTF-8" standalone="yes"?>
<Relationships xmlns="http://schemas.openxmlformats.org/package/2006/relationships"><Relationship Id="rId2" Type="http://schemas.openxmlformats.org/officeDocument/2006/relationships/package" Target="../embeddings/Microsoft_Excel_Worksheet241.xlsx"/><Relationship Id="rId1" Type="http://schemas.openxmlformats.org/officeDocument/2006/relationships/themeOverride" Target="../theme/themeOverride234.xml"/></Relationships>
</file>

<file path=ppt/charts/_rels/chart243.xml.rels><?xml version="1.0" encoding="UTF-8" standalone="yes"?>
<Relationships xmlns="http://schemas.openxmlformats.org/package/2006/relationships"><Relationship Id="rId2" Type="http://schemas.openxmlformats.org/officeDocument/2006/relationships/package" Target="../embeddings/Microsoft_Excel_Worksheet242.xlsx"/><Relationship Id="rId1" Type="http://schemas.openxmlformats.org/officeDocument/2006/relationships/themeOverride" Target="../theme/themeOverride235.xml"/></Relationships>
</file>

<file path=ppt/charts/_rels/chart244.xml.rels><?xml version="1.0" encoding="UTF-8" standalone="yes"?>
<Relationships xmlns="http://schemas.openxmlformats.org/package/2006/relationships"><Relationship Id="rId2" Type="http://schemas.openxmlformats.org/officeDocument/2006/relationships/package" Target="../embeddings/Microsoft_Excel_Worksheet243.xlsx"/><Relationship Id="rId1" Type="http://schemas.openxmlformats.org/officeDocument/2006/relationships/themeOverride" Target="../theme/themeOverride236.xml"/></Relationships>
</file>

<file path=ppt/charts/_rels/chart245.xml.rels><?xml version="1.0" encoding="UTF-8" standalone="yes"?>
<Relationships xmlns="http://schemas.openxmlformats.org/package/2006/relationships"><Relationship Id="rId2" Type="http://schemas.openxmlformats.org/officeDocument/2006/relationships/package" Target="../embeddings/Microsoft_Excel_Worksheet244.xlsx"/><Relationship Id="rId1" Type="http://schemas.openxmlformats.org/officeDocument/2006/relationships/themeOverride" Target="../theme/themeOverride237.xml"/></Relationships>
</file>

<file path=ppt/charts/_rels/chart246.xml.rels><?xml version="1.0" encoding="UTF-8" standalone="yes"?>
<Relationships xmlns="http://schemas.openxmlformats.org/package/2006/relationships"><Relationship Id="rId3" Type="http://schemas.openxmlformats.org/officeDocument/2006/relationships/package" Target="../embeddings/Microsoft_Excel_Worksheet245.xlsx"/><Relationship Id="rId2" Type="http://schemas.microsoft.com/office/2011/relationships/chartColorStyle" Target="colors9.xml"/><Relationship Id="rId1" Type="http://schemas.microsoft.com/office/2011/relationships/chartStyle" Target="style9.xml"/></Relationships>
</file>

<file path=ppt/charts/_rels/chart247.xml.rels><?xml version="1.0" encoding="UTF-8" standalone="yes"?>
<Relationships xmlns="http://schemas.openxmlformats.org/package/2006/relationships"><Relationship Id="rId3" Type="http://schemas.openxmlformats.org/officeDocument/2006/relationships/package" Target="../embeddings/Microsoft_Excel_Worksheet246.xlsx"/><Relationship Id="rId2" Type="http://schemas.microsoft.com/office/2011/relationships/chartColorStyle" Target="colors10.xml"/><Relationship Id="rId1" Type="http://schemas.microsoft.com/office/2011/relationships/chartStyle" Target="style10.xml"/></Relationships>
</file>

<file path=ppt/charts/_rels/chart248.xml.rels><?xml version="1.0" encoding="UTF-8" standalone="yes"?>
<Relationships xmlns="http://schemas.openxmlformats.org/package/2006/relationships"><Relationship Id="rId2" Type="http://schemas.openxmlformats.org/officeDocument/2006/relationships/package" Target="../embeddings/Microsoft_Excel_Worksheet247.xlsx"/><Relationship Id="rId1" Type="http://schemas.openxmlformats.org/officeDocument/2006/relationships/themeOverride" Target="../theme/themeOverride238.xml"/></Relationships>
</file>

<file path=ppt/charts/_rels/chart249.xml.rels><?xml version="1.0" encoding="UTF-8" standalone="yes"?>
<Relationships xmlns="http://schemas.openxmlformats.org/package/2006/relationships"><Relationship Id="rId2" Type="http://schemas.openxmlformats.org/officeDocument/2006/relationships/package" Target="../embeddings/Microsoft_Excel_Worksheet248.xlsx"/><Relationship Id="rId1" Type="http://schemas.openxmlformats.org/officeDocument/2006/relationships/themeOverride" Target="../theme/themeOverride239.xml"/></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themeOverride" Target="../theme/themeOverride25.xml"/></Relationships>
</file>

<file path=ppt/charts/_rels/chart250.xml.rels><?xml version="1.0" encoding="UTF-8" standalone="yes"?>
<Relationships xmlns="http://schemas.openxmlformats.org/package/2006/relationships"><Relationship Id="rId2" Type="http://schemas.openxmlformats.org/officeDocument/2006/relationships/package" Target="../embeddings/Microsoft_Excel_Worksheet249.xlsx"/><Relationship Id="rId1" Type="http://schemas.openxmlformats.org/officeDocument/2006/relationships/themeOverride" Target="../theme/themeOverride240.xml"/></Relationships>
</file>

<file path=ppt/charts/_rels/chart251.xml.rels><?xml version="1.0" encoding="UTF-8" standalone="yes"?>
<Relationships xmlns="http://schemas.openxmlformats.org/package/2006/relationships"><Relationship Id="rId2" Type="http://schemas.openxmlformats.org/officeDocument/2006/relationships/package" Target="../embeddings/Microsoft_Excel_Worksheet250.xlsx"/><Relationship Id="rId1" Type="http://schemas.openxmlformats.org/officeDocument/2006/relationships/themeOverride" Target="../theme/themeOverride241.xml"/></Relationships>
</file>

<file path=ppt/charts/_rels/chart252.xml.rels><?xml version="1.0" encoding="UTF-8" standalone="yes"?>
<Relationships xmlns="http://schemas.openxmlformats.org/package/2006/relationships"><Relationship Id="rId3" Type="http://schemas.openxmlformats.org/officeDocument/2006/relationships/package" Target="../embeddings/Microsoft_Excel_Worksheet251.xlsx"/><Relationship Id="rId2" Type="http://schemas.microsoft.com/office/2011/relationships/chartColorStyle" Target="colors11.xml"/><Relationship Id="rId1" Type="http://schemas.microsoft.com/office/2011/relationships/chartStyle" Target="style11.xml"/></Relationships>
</file>

<file path=ppt/charts/_rels/chart253.xml.rels><?xml version="1.0" encoding="UTF-8" standalone="yes"?>
<Relationships xmlns="http://schemas.openxmlformats.org/package/2006/relationships"><Relationship Id="rId3" Type="http://schemas.openxmlformats.org/officeDocument/2006/relationships/package" Target="../embeddings/Microsoft_Excel_Worksheet252.xlsx"/><Relationship Id="rId2" Type="http://schemas.microsoft.com/office/2011/relationships/chartColorStyle" Target="colors12.xml"/><Relationship Id="rId1" Type="http://schemas.microsoft.com/office/2011/relationships/chartStyle" Target="style12.xml"/></Relationships>
</file>

<file path=ppt/charts/_rels/chart254.xml.rels><?xml version="1.0" encoding="UTF-8" standalone="yes"?>
<Relationships xmlns="http://schemas.openxmlformats.org/package/2006/relationships"><Relationship Id="rId2" Type="http://schemas.openxmlformats.org/officeDocument/2006/relationships/package" Target="../embeddings/Microsoft_Excel_Worksheet253.xlsx"/><Relationship Id="rId1" Type="http://schemas.openxmlformats.org/officeDocument/2006/relationships/themeOverride" Target="../theme/themeOverride242.xml"/></Relationships>
</file>

<file path=ppt/charts/_rels/chart255.xml.rels><?xml version="1.0" encoding="UTF-8" standalone="yes"?>
<Relationships xmlns="http://schemas.openxmlformats.org/package/2006/relationships"><Relationship Id="rId2" Type="http://schemas.openxmlformats.org/officeDocument/2006/relationships/package" Target="../embeddings/Microsoft_Excel_Worksheet254.xlsx"/><Relationship Id="rId1" Type="http://schemas.openxmlformats.org/officeDocument/2006/relationships/themeOverride" Target="../theme/themeOverride243.xml"/></Relationships>
</file>

<file path=ppt/charts/_rels/chart256.xml.rels><?xml version="1.0" encoding="UTF-8" standalone="yes"?>
<Relationships xmlns="http://schemas.openxmlformats.org/package/2006/relationships"><Relationship Id="rId2" Type="http://schemas.openxmlformats.org/officeDocument/2006/relationships/package" Target="../embeddings/Microsoft_Excel_Worksheet255.xlsx"/><Relationship Id="rId1" Type="http://schemas.openxmlformats.org/officeDocument/2006/relationships/themeOverride" Target="../theme/themeOverride244.xml"/></Relationships>
</file>

<file path=ppt/charts/_rels/chart257.xml.rels><?xml version="1.0" encoding="UTF-8" standalone="yes"?>
<Relationships xmlns="http://schemas.openxmlformats.org/package/2006/relationships"><Relationship Id="rId2" Type="http://schemas.openxmlformats.org/officeDocument/2006/relationships/package" Target="../embeddings/Microsoft_Excel_Worksheet256.xlsx"/><Relationship Id="rId1" Type="http://schemas.openxmlformats.org/officeDocument/2006/relationships/themeOverride" Target="../theme/themeOverride245.xml"/></Relationships>
</file>

<file path=ppt/charts/_rels/chart258.xml.rels><?xml version="1.0" encoding="UTF-8" standalone="yes"?>
<Relationships xmlns="http://schemas.openxmlformats.org/package/2006/relationships"><Relationship Id="rId3" Type="http://schemas.openxmlformats.org/officeDocument/2006/relationships/package" Target="../embeddings/Microsoft_Excel_Worksheet257.xlsx"/><Relationship Id="rId2" Type="http://schemas.microsoft.com/office/2011/relationships/chartColorStyle" Target="colors13.xml"/><Relationship Id="rId1" Type="http://schemas.microsoft.com/office/2011/relationships/chartStyle" Target="style13.xml"/></Relationships>
</file>

<file path=ppt/charts/_rels/chart259.xml.rels><?xml version="1.0" encoding="UTF-8" standalone="yes"?>
<Relationships xmlns="http://schemas.openxmlformats.org/package/2006/relationships"><Relationship Id="rId3" Type="http://schemas.openxmlformats.org/officeDocument/2006/relationships/package" Target="../embeddings/Microsoft_Excel_Worksheet258.xlsx"/><Relationship Id="rId2" Type="http://schemas.microsoft.com/office/2011/relationships/chartColorStyle" Target="colors14.xml"/><Relationship Id="rId1" Type="http://schemas.microsoft.com/office/2011/relationships/chartStyle" Target="style14.xml"/></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26.xml"/></Relationships>
</file>

<file path=ppt/charts/_rels/chart260.xml.rels><?xml version="1.0" encoding="UTF-8" standalone="yes"?>
<Relationships xmlns="http://schemas.openxmlformats.org/package/2006/relationships"><Relationship Id="rId2" Type="http://schemas.openxmlformats.org/officeDocument/2006/relationships/package" Target="../embeddings/Microsoft_Excel_Worksheet259.xlsx"/><Relationship Id="rId1" Type="http://schemas.openxmlformats.org/officeDocument/2006/relationships/themeOverride" Target="../theme/themeOverride246.xml"/></Relationships>
</file>

<file path=ppt/charts/_rels/chart261.xml.rels><?xml version="1.0" encoding="UTF-8" standalone="yes"?>
<Relationships xmlns="http://schemas.openxmlformats.org/package/2006/relationships"><Relationship Id="rId2" Type="http://schemas.openxmlformats.org/officeDocument/2006/relationships/package" Target="../embeddings/Microsoft_Excel_Worksheet260.xlsx"/><Relationship Id="rId1" Type="http://schemas.openxmlformats.org/officeDocument/2006/relationships/themeOverride" Target="../theme/themeOverride247.xml"/></Relationships>
</file>

<file path=ppt/charts/_rels/chart262.xml.rels><?xml version="1.0" encoding="UTF-8" standalone="yes"?>
<Relationships xmlns="http://schemas.openxmlformats.org/package/2006/relationships"><Relationship Id="rId2" Type="http://schemas.openxmlformats.org/officeDocument/2006/relationships/package" Target="../embeddings/Microsoft_Excel_Worksheet261.xlsx"/><Relationship Id="rId1" Type="http://schemas.openxmlformats.org/officeDocument/2006/relationships/themeOverride" Target="../theme/themeOverride248.xml"/></Relationships>
</file>

<file path=ppt/charts/_rels/chart263.xml.rels><?xml version="1.0" encoding="UTF-8" standalone="yes"?>
<Relationships xmlns="http://schemas.openxmlformats.org/package/2006/relationships"><Relationship Id="rId2" Type="http://schemas.openxmlformats.org/officeDocument/2006/relationships/package" Target="../embeddings/Microsoft_Excel_Worksheet262.xlsx"/><Relationship Id="rId1" Type="http://schemas.openxmlformats.org/officeDocument/2006/relationships/themeOverride" Target="../theme/themeOverride249.xml"/></Relationships>
</file>

<file path=ppt/charts/_rels/chart264.xml.rels><?xml version="1.0" encoding="UTF-8" standalone="yes"?>
<Relationships xmlns="http://schemas.openxmlformats.org/package/2006/relationships"><Relationship Id="rId3" Type="http://schemas.openxmlformats.org/officeDocument/2006/relationships/package" Target="../embeddings/Microsoft_Excel_Worksheet263.xlsx"/><Relationship Id="rId2" Type="http://schemas.microsoft.com/office/2011/relationships/chartColorStyle" Target="colors15.xml"/><Relationship Id="rId1" Type="http://schemas.microsoft.com/office/2011/relationships/chartStyle" Target="style15.xml"/></Relationships>
</file>

<file path=ppt/charts/_rels/chart265.xml.rels><?xml version="1.0" encoding="UTF-8" standalone="yes"?>
<Relationships xmlns="http://schemas.openxmlformats.org/package/2006/relationships"><Relationship Id="rId3" Type="http://schemas.openxmlformats.org/officeDocument/2006/relationships/package" Target="../embeddings/Microsoft_Excel_Worksheet264.xlsx"/><Relationship Id="rId2" Type="http://schemas.microsoft.com/office/2011/relationships/chartColorStyle" Target="colors16.xml"/><Relationship Id="rId1" Type="http://schemas.microsoft.com/office/2011/relationships/chartStyle" Target="style16.xml"/></Relationships>
</file>

<file path=ppt/charts/_rels/chart266.xml.rels><?xml version="1.0" encoding="UTF-8" standalone="yes"?>
<Relationships xmlns="http://schemas.openxmlformats.org/package/2006/relationships"><Relationship Id="rId2" Type="http://schemas.openxmlformats.org/officeDocument/2006/relationships/package" Target="../embeddings/Microsoft_Excel_Worksheet265.xlsx"/><Relationship Id="rId1" Type="http://schemas.openxmlformats.org/officeDocument/2006/relationships/themeOverride" Target="../theme/themeOverride250.xml"/></Relationships>
</file>

<file path=ppt/charts/_rels/chart267.xml.rels><?xml version="1.0" encoding="UTF-8" standalone="yes"?>
<Relationships xmlns="http://schemas.openxmlformats.org/package/2006/relationships"><Relationship Id="rId2" Type="http://schemas.openxmlformats.org/officeDocument/2006/relationships/package" Target="../embeddings/Microsoft_Excel_Worksheet266.xlsx"/><Relationship Id="rId1" Type="http://schemas.openxmlformats.org/officeDocument/2006/relationships/themeOverride" Target="../theme/themeOverride251.xml"/></Relationships>
</file>

<file path=ppt/charts/_rels/chart268.xml.rels><?xml version="1.0" encoding="UTF-8" standalone="yes"?>
<Relationships xmlns="http://schemas.openxmlformats.org/package/2006/relationships"><Relationship Id="rId2" Type="http://schemas.openxmlformats.org/officeDocument/2006/relationships/package" Target="../embeddings/Microsoft_Excel_Worksheet267.xlsx"/><Relationship Id="rId1" Type="http://schemas.openxmlformats.org/officeDocument/2006/relationships/themeOverride" Target="../theme/themeOverride252.xml"/></Relationships>
</file>

<file path=ppt/charts/_rels/chart269.xml.rels><?xml version="1.0" encoding="UTF-8" standalone="yes"?>
<Relationships xmlns="http://schemas.openxmlformats.org/package/2006/relationships"><Relationship Id="rId2" Type="http://schemas.openxmlformats.org/officeDocument/2006/relationships/package" Target="../embeddings/Microsoft_Excel_Worksheet268.xlsx"/><Relationship Id="rId1" Type="http://schemas.openxmlformats.org/officeDocument/2006/relationships/themeOverride" Target="../theme/themeOverride25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27.xml"/></Relationships>
</file>

<file path=ppt/charts/_rels/chart270.xml.rels><?xml version="1.0" encoding="UTF-8" standalone="yes"?>
<Relationships xmlns="http://schemas.openxmlformats.org/package/2006/relationships"><Relationship Id="rId3" Type="http://schemas.openxmlformats.org/officeDocument/2006/relationships/package" Target="../embeddings/Microsoft_Excel_Worksheet269.xlsx"/><Relationship Id="rId2" Type="http://schemas.microsoft.com/office/2011/relationships/chartColorStyle" Target="colors17.xml"/><Relationship Id="rId1" Type="http://schemas.microsoft.com/office/2011/relationships/chartStyle" Target="style17.xml"/></Relationships>
</file>

<file path=ppt/charts/_rels/chart271.xml.rels><?xml version="1.0" encoding="UTF-8" standalone="yes"?>
<Relationships xmlns="http://schemas.openxmlformats.org/package/2006/relationships"><Relationship Id="rId3" Type="http://schemas.openxmlformats.org/officeDocument/2006/relationships/package" Target="../embeddings/Microsoft_Excel_Worksheet270.xlsx"/><Relationship Id="rId2" Type="http://schemas.microsoft.com/office/2011/relationships/chartColorStyle" Target="colors18.xml"/><Relationship Id="rId1" Type="http://schemas.microsoft.com/office/2011/relationships/chartStyle" Target="style18.xml"/></Relationships>
</file>

<file path=ppt/charts/_rels/chart272.xml.rels><?xml version="1.0" encoding="UTF-8" standalone="yes"?>
<Relationships xmlns="http://schemas.openxmlformats.org/package/2006/relationships"><Relationship Id="rId2" Type="http://schemas.openxmlformats.org/officeDocument/2006/relationships/package" Target="../embeddings/Microsoft_Excel_Worksheet271.xlsx"/><Relationship Id="rId1" Type="http://schemas.openxmlformats.org/officeDocument/2006/relationships/themeOverride" Target="../theme/themeOverride254.xml"/></Relationships>
</file>

<file path=ppt/charts/_rels/chart273.xml.rels><?xml version="1.0" encoding="UTF-8" standalone="yes"?>
<Relationships xmlns="http://schemas.openxmlformats.org/package/2006/relationships"><Relationship Id="rId2" Type="http://schemas.openxmlformats.org/officeDocument/2006/relationships/package" Target="../embeddings/Microsoft_Excel_Worksheet272.xlsx"/><Relationship Id="rId1" Type="http://schemas.openxmlformats.org/officeDocument/2006/relationships/themeOverride" Target="../theme/themeOverride255.xml"/></Relationships>
</file>

<file path=ppt/charts/_rels/chart274.xml.rels><?xml version="1.0" encoding="UTF-8" standalone="yes"?>
<Relationships xmlns="http://schemas.openxmlformats.org/package/2006/relationships"><Relationship Id="rId2" Type="http://schemas.openxmlformats.org/officeDocument/2006/relationships/package" Target="../embeddings/Microsoft_Excel_Worksheet273.xlsx"/><Relationship Id="rId1" Type="http://schemas.openxmlformats.org/officeDocument/2006/relationships/themeOverride" Target="../theme/themeOverride256.xml"/></Relationships>
</file>

<file path=ppt/charts/_rels/chart275.xml.rels><?xml version="1.0" encoding="UTF-8" standalone="yes"?>
<Relationships xmlns="http://schemas.openxmlformats.org/package/2006/relationships"><Relationship Id="rId2" Type="http://schemas.openxmlformats.org/officeDocument/2006/relationships/package" Target="../embeddings/Microsoft_Excel_Worksheet274.xlsx"/><Relationship Id="rId1" Type="http://schemas.openxmlformats.org/officeDocument/2006/relationships/themeOverride" Target="../theme/themeOverride257.xml"/></Relationships>
</file>

<file path=ppt/charts/_rels/chart276.xml.rels><?xml version="1.0" encoding="UTF-8" standalone="yes"?>
<Relationships xmlns="http://schemas.openxmlformats.org/package/2006/relationships"><Relationship Id="rId3" Type="http://schemas.openxmlformats.org/officeDocument/2006/relationships/package" Target="../embeddings/Microsoft_Excel_Worksheet275.xlsx"/><Relationship Id="rId2" Type="http://schemas.microsoft.com/office/2011/relationships/chartColorStyle" Target="colors19.xml"/><Relationship Id="rId1" Type="http://schemas.microsoft.com/office/2011/relationships/chartStyle" Target="style19.xml"/></Relationships>
</file>

<file path=ppt/charts/_rels/chart277.xml.rels><?xml version="1.0" encoding="UTF-8" standalone="yes"?>
<Relationships xmlns="http://schemas.openxmlformats.org/package/2006/relationships"><Relationship Id="rId3" Type="http://schemas.openxmlformats.org/officeDocument/2006/relationships/package" Target="../embeddings/Microsoft_Excel_Worksheet276.xlsx"/><Relationship Id="rId2" Type="http://schemas.microsoft.com/office/2011/relationships/chartColorStyle" Target="colors20.xml"/><Relationship Id="rId1" Type="http://schemas.microsoft.com/office/2011/relationships/chartStyle" Target="style20.xml"/></Relationships>
</file>

<file path=ppt/charts/_rels/chart278.xml.rels><?xml version="1.0" encoding="UTF-8" standalone="yes"?>
<Relationships xmlns="http://schemas.openxmlformats.org/package/2006/relationships"><Relationship Id="rId2" Type="http://schemas.openxmlformats.org/officeDocument/2006/relationships/package" Target="../embeddings/Microsoft_Excel_Worksheet277.xlsx"/><Relationship Id="rId1" Type="http://schemas.openxmlformats.org/officeDocument/2006/relationships/themeOverride" Target="../theme/themeOverride258.xml"/></Relationships>
</file>

<file path=ppt/charts/_rels/chart279.xml.rels><?xml version="1.0" encoding="UTF-8" standalone="yes"?>
<Relationships xmlns="http://schemas.openxmlformats.org/package/2006/relationships"><Relationship Id="rId2" Type="http://schemas.openxmlformats.org/officeDocument/2006/relationships/package" Target="../embeddings/Microsoft_Excel_Worksheet278.xlsx"/><Relationship Id="rId1" Type="http://schemas.openxmlformats.org/officeDocument/2006/relationships/themeOverride" Target="../theme/themeOverride259.xml"/></Relationships>
</file>

<file path=ppt/charts/_rels/chart28.xml.rels><?xml version="1.0" encoding="UTF-8" standalone="yes"?>
<Relationships xmlns="http://schemas.openxmlformats.org/package/2006/relationships"><Relationship Id="rId2" Type="http://schemas.openxmlformats.org/officeDocument/2006/relationships/package" Target="../embeddings/Microsoft_Excel_Worksheet27.xlsx"/><Relationship Id="rId1" Type="http://schemas.openxmlformats.org/officeDocument/2006/relationships/themeOverride" Target="../theme/themeOverride28.xml"/></Relationships>
</file>

<file path=ppt/charts/_rels/chart280.xml.rels><?xml version="1.0" encoding="UTF-8" standalone="yes"?>
<Relationships xmlns="http://schemas.openxmlformats.org/package/2006/relationships"><Relationship Id="rId2" Type="http://schemas.openxmlformats.org/officeDocument/2006/relationships/package" Target="../embeddings/Microsoft_Excel_Worksheet279.xlsx"/><Relationship Id="rId1" Type="http://schemas.openxmlformats.org/officeDocument/2006/relationships/themeOverride" Target="../theme/themeOverride260.xml"/></Relationships>
</file>

<file path=ppt/charts/_rels/chart281.xml.rels><?xml version="1.0" encoding="UTF-8" standalone="yes"?>
<Relationships xmlns="http://schemas.openxmlformats.org/package/2006/relationships"><Relationship Id="rId2" Type="http://schemas.openxmlformats.org/officeDocument/2006/relationships/package" Target="../embeddings/Microsoft_Excel_Worksheet280.xlsx"/><Relationship Id="rId1" Type="http://schemas.openxmlformats.org/officeDocument/2006/relationships/themeOverride" Target="../theme/themeOverride261.xml"/></Relationships>
</file>

<file path=ppt/charts/_rels/chart282.xml.rels><?xml version="1.0" encoding="UTF-8" standalone="yes"?>
<Relationships xmlns="http://schemas.openxmlformats.org/package/2006/relationships"><Relationship Id="rId3" Type="http://schemas.openxmlformats.org/officeDocument/2006/relationships/package" Target="../embeddings/Microsoft_Excel_Worksheet281.xlsx"/><Relationship Id="rId2" Type="http://schemas.microsoft.com/office/2011/relationships/chartColorStyle" Target="colors21.xml"/><Relationship Id="rId1" Type="http://schemas.microsoft.com/office/2011/relationships/chartStyle" Target="style21.xml"/></Relationships>
</file>

<file path=ppt/charts/_rels/chart283.xml.rels><?xml version="1.0" encoding="UTF-8" standalone="yes"?>
<Relationships xmlns="http://schemas.openxmlformats.org/package/2006/relationships"><Relationship Id="rId3" Type="http://schemas.openxmlformats.org/officeDocument/2006/relationships/package" Target="../embeddings/Microsoft_Excel_Worksheet282.xlsx"/><Relationship Id="rId2" Type="http://schemas.microsoft.com/office/2011/relationships/chartColorStyle" Target="colors22.xml"/><Relationship Id="rId1" Type="http://schemas.microsoft.com/office/2011/relationships/chartStyle" Target="style22.xml"/></Relationships>
</file>

<file path=ppt/charts/_rels/chart284.xml.rels><?xml version="1.0" encoding="UTF-8" standalone="yes"?>
<Relationships xmlns="http://schemas.openxmlformats.org/package/2006/relationships"><Relationship Id="rId2" Type="http://schemas.openxmlformats.org/officeDocument/2006/relationships/package" Target="../embeddings/Microsoft_Excel_Worksheet283.xlsx"/><Relationship Id="rId1" Type="http://schemas.openxmlformats.org/officeDocument/2006/relationships/themeOverride" Target="../theme/themeOverride262.xml"/></Relationships>
</file>

<file path=ppt/charts/_rels/chart285.xml.rels><?xml version="1.0" encoding="UTF-8" standalone="yes"?>
<Relationships xmlns="http://schemas.openxmlformats.org/package/2006/relationships"><Relationship Id="rId2" Type="http://schemas.openxmlformats.org/officeDocument/2006/relationships/package" Target="../embeddings/Microsoft_Excel_Worksheet284.xlsx"/><Relationship Id="rId1" Type="http://schemas.openxmlformats.org/officeDocument/2006/relationships/themeOverride" Target="../theme/themeOverride263.xml"/></Relationships>
</file>

<file path=ppt/charts/_rels/chart286.xml.rels><?xml version="1.0" encoding="UTF-8" standalone="yes"?>
<Relationships xmlns="http://schemas.openxmlformats.org/package/2006/relationships"><Relationship Id="rId2" Type="http://schemas.openxmlformats.org/officeDocument/2006/relationships/package" Target="../embeddings/Microsoft_Excel_Worksheet285.xlsx"/><Relationship Id="rId1" Type="http://schemas.openxmlformats.org/officeDocument/2006/relationships/themeOverride" Target="../theme/themeOverride264.xml"/></Relationships>
</file>

<file path=ppt/charts/_rels/chart287.xml.rels><?xml version="1.0" encoding="UTF-8" standalone="yes"?>
<Relationships xmlns="http://schemas.openxmlformats.org/package/2006/relationships"><Relationship Id="rId2" Type="http://schemas.openxmlformats.org/officeDocument/2006/relationships/package" Target="../embeddings/Microsoft_Excel_Worksheet286.xlsx"/><Relationship Id="rId1" Type="http://schemas.openxmlformats.org/officeDocument/2006/relationships/themeOverride" Target="../theme/themeOverride265.xml"/></Relationships>
</file>

<file path=ppt/charts/_rels/chart288.xml.rels><?xml version="1.0" encoding="UTF-8" standalone="yes"?>
<Relationships xmlns="http://schemas.openxmlformats.org/package/2006/relationships"><Relationship Id="rId3" Type="http://schemas.openxmlformats.org/officeDocument/2006/relationships/package" Target="../embeddings/Microsoft_Excel_Worksheet287.xlsx"/><Relationship Id="rId2" Type="http://schemas.microsoft.com/office/2011/relationships/chartColorStyle" Target="colors23.xml"/><Relationship Id="rId1" Type="http://schemas.microsoft.com/office/2011/relationships/chartStyle" Target="style23.xml"/></Relationships>
</file>

<file path=ppt/charts/_rels/chart289.xml.rels><?xml version="1.0" encoding="UTF-8" standalone="yes"?>
<Relationships xmlns="http://schemas.openxmlformats.org/package/2006/relationships"><Relationship Id="rId3" Type="http://schemas.openxmlformats.org/officeDocument/2006/relationships/package" Target="../embeddings/Microsoft_Excel_Worksheet288.xlsx"/><Relationship Id="rId2" Type="http://schemas.microsoft.com/office/2011/relationships/chartColorStyle" Target="colors24.xml"/><Relationship Id="rId1" Type="http://schemas.microsoft.com/office/2011/relationships/chartStyle" Target="style24.xml"/></Relationships>
</file>

<file path=ppt/charts/_rels/chart29.xml.rels><?xml version="1.0" encoding="UTF-8" standalone="yes"?>
<Relationships xmlns="http://schemas.openxmlformats.org/package/2006/relationships"><Relationship Id="rId2" Type="http://schemas.openxmlformats.org/officeDocument/2006/relationships/package" Target="../embeddings/Microsoft_Excel_Worksheet28.xlsx"/><Relationship Id="rId1" Type="http://schemas.openxmlformats.org/officeDocument/2006/relationships/themeOverride" Target="../theme/themeOverride29.xml"/></Relationships>
</file>

<file path=ppt/charts/_rels/chart290.xml.rels><?xml version="1.0" encoding="UTF-8" standalone="yes"?>
<Relationships xmlns="http://schemas.openxmlformats.org/package/2006/relationships"><Relationship Id="rId2" Type="http://schemas.openxmlformats.org/officeDocument/2006/relationships/package" Target="../embeddings/Microsoft_Excel_Worksheet289.xlsx"/><Relationship Id="rId1" Type="http://schemas.openxmlformats.org/officeDocument/2006/relationships/themeOverride" Target="../theme/themeOverride266.xml"/></Relationships>
</file>

<file path=ppt/charts/_rels/chart291.xml.rels><?xml version="1.0" encoding="UTF-8" standalone="yes"?>
<Relationships xmlns="http://schemas.openxmlformats.org/package/2006/relationships"><Relationship Id="rId2" Type="http://schemas.openxmlformats.org/officeDocument/2006/relationships/package" Target="../embeddings/Microsoft_Excel_Worksheet290.xlsx"/><Relationship Id="rId1" Type="http://schemas.openxmlformats.org/officeDocument/2006/relationships/themeOverride" Target="../theme/themeOverride267.xml"/></Relationships>
</file>

<file path=ppt/charts/_rels/chart292.xml.rels><?xml version="1.0" encoding="UTF-8" standalone="yes"?>
<Relationships xmlns="http://schemas.openxmlformats.org/package/2006/relationships"><Relationship Id="rId2" Type="http://schemas.openxmlformats.org/officeDocument/2006/relationships/package" Target="../embeddings/Microsoft_Excel_Worksheet291.xlsx"/><Relationship Id="rId1" Type="http://schemas.openxmlformats.org/officeDocument/2006/relationships/themeOverride" Target="../theme/themeOverride268.xml"/></Relationships>
</file>

<file path=ppt/charts/_rels/chart293.xml.rels><?xml version="1.0" encoding="UTF-8" standalone="yes"?>
<Relationships xmlns="http://schemas.openxmlformats.org/package/2006/relationships"><Relationship Id="rId2" Type="http://schemas.openxmlformats.org/officeDocument/2006/relationships/package" Target="../embeddings/Microsoft_Excel_Worksheet292.xlsx"/><Relationship Id="rId1" Type="http://schemas.openxmlformats.org/officeDocument/2006/relationships/themeOverride" Target="../theme/themeOverride269.xml"/></Relationships>
</file>

<file path=ppt/charts/_rels/chart294.xml.rels><?xml version="1.0" encoding="UTF-8" standalone="yes"?>
<Relationships xmlns="http://schemas.openxmlformats.org/package/2006/relationships"><Relationship Id="rId3" Type="http://schemas.openxmlformats.org/officeDocument/2006/relationships/package" Target="../embeddings/Microsoft_Excel_Worksheet293.xlsx"/><Relationship Id="rId2" Type="http://schemas.microsoft.com/office/2011/relationships/chartColorStyle" Target="colors25.xml"/><Relationship Id="rId1" Type="http://schemas.microsoft.com/office/2011/relationships/chartStyle" Target="style25.xml"/></Relationships>
</file>

<file path=ppt/charts/_rels/chart295.xml.rels><?xml version="1.0" encoding="UTF-8" standalone="yes"?>
<Relationships xmlns="http://schemas.openxmlformats.org/package/2006/relationships"><Relationship Id="rId3" Type="http://schemas.openxmlformats.org/officeDocument/2006/relationships/package" Target="../embeddings/Microsoft_Excel_Worksheet294.xlsx"/><Relationship Id="rId2" Type="http://schemas.microsoft.com/office/2011/relationships/chartColorStyle" Target="colors26.xml"/><Relationship Id="rId1" Type="http://schemas.microsoft.com/office/2011/relationships/chartStyle" Target="style26.xml"/></Relationships>
</file>

<file path=ppt/charts/_rels/chart296.xml.rels><?xml version="1.0" encoding="UTF-8" standalone="yes"?>
<Relationships xmlns="http://schemas.openxmlformats.org/package/2006/relationships"><Relationship Id="rId2" Type="http://schemas.openxmlformats.org/officeDocument/2006/relationships/package" Target="../embeddings/Microsoft_Excel_Worksheet295.xlsx"/><Relationship Id="rId1" Type="http://schemas.openxmlformats.org/officeDocument/2006/relationships/themeOverride" Target="../theme/themeOverride270.xml"/></Relationships>
</file>

<file path=ppt/charts/_rels/chart297.xml.rels><?xml version="1.0" encoding="UTF-8" standalone="yes"?>
<Relationships xmlns="http://schemas.openxmlformats.org/package/2006/relationships"><Relationship Id="rId2" Type="http://schemas.openxmlformats.org/officeDocument/2006/relationships/package" Target="../embeddings/Microsoft_Excel_Worksheet296.xlsx"/><Relationship Id="rId1" Type="http://schemas.openxmlformats.org/officeDocument/2006/relationships/themeOverride" Target="../theme/themeOverride271.xml"/></Relationships>
</file>

<file path=ppt/charts/_rels/chart298.xml.rels><?xml version="1.0" encoding="UTF-8" standalone="yes"?>
<Relationships xmlns="http://schemas.openxmlformats.org/package/2006/relationships"><Relationship Id="rId2" Type="http://schemas.openxmlformats.org/officeDocument/2006/relationships/package" Target="../embeddings/Microsoft_Excel_Worksheet297.xlsx"/><Relationship Id="rId1" Type="http://schemas.openxmlformats.org/officeDocument/2006/relationships/themeOverride" Target="../theme/themeOverride272.xml"/></Relationships>
</file>

<file path=ppt/charts/_rels/chart299.xml.rels><?xml version="1.0" encoding="UTF-8" standalone="yes"?>
<Relationships xmlns="http://schemas.openxmlformats.org/package/2006/relationships"><Relationship Id="rId2" Type="http://schemas.openxmlformats.org/officeDocument/2006/relationships/package" Target="../embeddings/Microsoft_Excel_Worksheet298.xlsx"/><Relationship Id="rId1" Type="http://schemas.openxmlformats.org/officeDocument/2006/relationships/themeOverride" Target="../theme/themeOverride273.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30.xml.rels><?xml version="1.0" encoding="UTF-8" standalone="yes"?>
<Relationships xmlns="http://schemas.openxmlformats.org/package/2006/relationships"><Relationship Id="rId2" Type="http://schemas.openxmlformats.org/officeDocument/2006/relationships/package" Target="../embeddings/Microsoft_Excel_Worksheet29.xlsx"/><Relationship Id="rId1" Type="http://schemas.openxmlformats.org/officeDocument/2006/relationships/themeOverride" Target="../theme/themeOverride30.xml"/></Relationships>
</file>

<file path=ppt/charts/_rels/chart300.xml.rels><?xml version="1.0" encoding="UTF-8" standalone="yes"?>
<Relationships xmlns="http://schemas.openxmlformats.org/package/2006/relationships"><Relationship Id="rId3" Type="http://schemas.openxmlformats.org/officeDocument/2006/relationships/package" Target="../embeddings/Microsoft_Excel_Worksheet299.xlsx"/><Relationship Id="rId2" Type="http://schemas.microsoft.com/office/2011/relationships/chartColorStyle" Target="colors27.xml"/><Relationship Id="rId1" Type="http://schemas.microsoft.com/office/2011/relationships/chartStyle" Target="style27.xml"/></Relationships>
</file>

<file path=ppt/charts/_rels/chart301.xml.rels><?xml version="1.0" encoding="UTF-8" standalone="yes"?>
<Relationships xmlns="http://schemas.openxmlformats.org/package/2006/relationships"><Relationship Id="rId3" Type="http://schemas.openxmlformats.org/officeDocument/2006/relationships/package" Target="../embeddings/Microsoft_Excel_Worksheet300.xlsx"/><Relationship Id="rId2" Type="http://schemas.microsoft.com/office/2011/relationships/chartColorStyle" Target="colors28.xml"/><Relationship Id="rId1" Type="http://schemas.microsoft.com/office/2011/relationships/chartStyle" Target="style28.xml"/></Relationships>
</file>

<file path=ppt/charts/_rels/chart302.xml.rels><?xml version="1.0" encoding="UTF-8" standalone="yes"?>
<Relationships xmlns="http://schemas.openxmlformats.org/package/2006/relationships"><Relationship Id="rId2" Type="http://schemas.openxmlformats.org/officeDocument/2006/relationships/package" Target="../embeddings/Microsoft_Excel_Worksheet301.xlsx"/><Relationship Id="rId1" Type="http://schemas.openxmlformats.org/officeDocument/2006/relationships/themeOverride" Target="../theme/themeOverride274.xml"/></Relationships>
</file>

<file path=ppt/charts/_rels/chart303.xml.rels><?xml version="1.0" encoding="UTF-8" standalone="yes"?>
<Relationships xmlns="http://schemas.openxmlformats.org/package/2006/relationships"><Relationship Id="rId2" Type="http://schemas.openxmlformats.org/officeDocument/2006/relationships/package" Target="../embeddings/Microsoft_Excel_Worksheet302.xlsx"/><Relationship Id="rId1" Type="http://schemas.openxmlformats.org/officeDocument/2006/relationships/themeOverride" Target="../theme/themeOverride275.xml"/></Relationships>
</file>

<file path=ppt/charts/_rels/chart304.xml.rels><?xml version="1.0" encoding="UTF-8" standalone="yes"?>
<Relationships xmlns="http://schemas.openxmlformats.org/package/2006/relationships"><Relationship Id="rId2" Type="http://schemas.openxmlformats.org/officeDocument/2006/relationships/package" Target="../embeddings/Microsoft_Excel_Worksheet303.xlsx"/><Relationship Id="rId1" Type="http://schemas.openxmlformats.org/officeDocument/2006/relationships/themeOverride" Target="../theme/themeOverride276.xml"/></Relationships>
</file>

<file path=ppt/charts/_rels/chart305.xml.rels><?xml version="1.0" encoding="UTF-8" standalone="yes"?>
<Relationships xmlns="http://schemas.openxmlformats.org/package/2006/relationships"><Relationship Id="rId2" Type="http://schemas.openxmlformats.org/officeDocument/2006/relationships/package" Target="../embeddings/Microsoft_Excel_Worksheet304.xlsx"/><Relationship Id="rId1" Type="http://schemas.openxmlformats.org/officeDocument/2006/relationships/themeOverride" Target="../theme/themeOverride277.xml"/></Relationships>
</file>

<file path=ppt/charts/_rels/chart306.xml.rels><?xml version="1.0" encoding="UTF-8" standalone="yes"?>
<Relationships xmlns="http://schemas.openxmlformats.org/package/2006/relationships"><Relationship Id="rId3" Type="http://schemas.openxmlformats.org/officeDocument/2006/relationships/package" Target="../embeddings/Microsoft_Excel_Worksheet305.xlsx"/><Relationship Id="rId2" Type="http://schemas.microsoft.com/office/2011/relationships/chartColorStyle" Target="colors29.xml"/><Relationship Id="rId1" Type="http://schemas.microsoft.com/office/2011/relationships/chartStyle" Target="style29.xml"/></Relationships>
</file>

<file path=ppt/charts/_rels/chart307.xml.rels><?xml version="1.0" encoding="UTF-8" standalone="yes"?>
<Relationships xmlns="http://schemas.openxmlformats.org/package/2006/relationships"><Relationship Id="rId3" Type="http://schemas.openxmlformats.org/officeDocument/2006/relationships/package" Target="../embeddings/Microsoft_Excel_Worksheet306.xlsx"/><Relationship Id="rId2" Type="http://schemas.microsoft.com/office/2011/relationships/chartColorStyle" Target="colors30.xml"/><Relationship Id="rId1" Type="http://schemas.microsoft.com/office/2011/relationships/chartStyle" Target="style30.xml"/></Relationships>
</file>

<file path=ppt/charts/_rels/chart308.xml.rels><?xml version="1.0" encoding="UTF-8" standalone="yes"?>
<Relationships xmlns="http://schemas.openxmlformats.org/package/2006/relationships"><Relationship Id="rId2" Type="http://schemas.openxmlformats.org/officeDocument/2006/relationships/package" Target="../embeddings/Microsoft_Excel_Worksheet307.xlsx"/><Relationship Id="rId1" Type="http://schemas.openxmlformats.org/officeDocument/2006/relationships/themeOverride" Target="../theme/themeOverride278.xml"/></Relationships>
</file>

<file path=ppt/charts/_rels/chart309.xml.rels><?xml version="1.0" encoding="UTF-8" standalone="yes"?>
<Relationships xmlns="http://schemas.openxmlformats.org/package/2006/relationships"><Relationship Id="rId2" Type="http://schemas.openxmlformats.org/officeDocument/2006/relationships/package" Target="../embeddings/Microsoft_Excel_Worksheet308.xlsx"/><Relationship Id="rId1" Type="http://schemas.openxmlformats.org/officeDocument/2006/relationships/themeOverride" Target="../theme/themeOverride279.xml"/></Relationships>
</file>

<file path=ppt/charts/_rels/chart31.xml.rels><?xml version="1.0" encoding="UTF-8" standalone="yes"?>
<Relationships xmlns="http://schemas.openxmlformats.org/package/2006/relationships"><Relationship Id="rId2" Type="http://schemas.openxmlformats.org/officeDocument/2006/relationships/package" Target="../embeddings/Microsoft_Excel_Worksheet30.xlsx"/><Relationship Id="rId1" Type="http://schemas.openxmlformats.org/officeDocument/2006/relationships/themeOverride" Target="../theme/themeOverride31.xml"/></Relationships>
</file>

<file path=ppt/charts/_rels/chart310.xml.rels><?xml version="1.0" encoding="UTF-8" standalone="yes"?>
<Relationships xmlns="http://schemas.openxmlformats.org/package/2006/relationships"><Relationship Id="rId2" Type="http://schemas.openxmlformats.org/officeDocument/2006/relationships/package" Target="../embeddings/Microsoft_Excel_Worksheet309.xlsx"/><Relationship Id="rId1" Type="http://schemas.openxmlformats.org/officeDocument/2006/relationships/themeOverride" Target="../theme/themeOverride280.xml"/></Relationships>
</file>

<file path=ppt/charts/_rels/chart311.xml.rels><?xml version="1.0" encoding="UTF-8" standalone="yes"?>
<Relationships xmlns="http://schemas.openxmlformats.org/package/2006/relationships"><Relationship Id="rId2" Type="http://schemas.openxmlformats.org/officeDocument/2006/relationships/package" Target="../embeddings/Microsoft_Excel_Worksheet310.xlsx"/><Relationship Id="rId1" Type="http://schemas.openxmlformats.org/officeDocument/2006/relationships/themeOverride" Target="../theme/themeOverride281.xml"/></Relationships>
</file>

<file path=ppt/charts/_rels/chart312.xml.rels><?xml version="1.0" encoding="UTF-8" standalone="yes"?>
<Relationships xmlns="http://schemas.openxmlformats.org/package/2006/relationships"><Relationship Id="rId3" Type="http://schemas.openxmlformats.org/officeDocument/2006/relationships/package" Target="../embeddings/Microsoft_Excel_Worksheet311.xlsx"/><Relationship Id="rId2" Type="http://schemas.microsoft.com/office/2011/relationships/chartColorStyle" Target="colors31.xml"/><Relationship Id="rId1" Type="http://schemas.microsoft.com/office/2011/relationships/chartStyle" Target="style31.xml"/></Relationships>
</file>

<file path=ppt/charts/_rels/chart313.xml.rels><?xml version="1.0" encoding="UTF-8" standalone="yes"?>
<Relationships xmlns="http://schemas.openxmlformats.org/package/2006/relationships"><Relationship Id="rId3" Type="http://schemas.openxmlformats.org/officeDocument/2006/relationships/package" Target="../embeddings/Microsoft_Excel_Worksheet312.xlsx"/><Relationship Id="rId2" Type="http://schemas.microsoft.com/office/2011/relationships/chartColorStyle" Target="colors32.xml"/><Relationship Id="rId1" Type="http://schemas.microsoft.com/office/2011/relationships/chartStyle" Target="style32.xml"/></Relationships>
</file>

<file path=ppt/charts/_rels/chart314.xml.rels><?xml version="1.0" encoding="UTF-8" standalone="yes"?>
<Relationships xmlns="http://schemas.openxmlformats.org/package/2006/relationships"><Relationship Id="rId2" Type="http://schemas.openxmlformats.org/officeDocument/2006/relationships/package" Target="../embeddings/Microsoft_Excel_Worksheet313.xlsx"/><Relationship Id="rId1" Type="http://schemas.openxmlformats.org/officeDocument/2006/relationships/themeOverride" Target="../theme/themeOverride282.xml"/></Relationships>
</file>

<file path=ppt/charts/_rels/chart315.xml.rels><?xml version="1.0" encoding="UTF-8" standalone="yes"?>
<Relationships xmlns="http://schemas.openxmlformats.org/package/2006/relationships"><Relationship Id="rId2" Type="http://schemas.openxmlformats.org/officeDocument/2006/relationships/package" Target="../embeddings/Microsoft_Excel_Worksheet314.xlsx"/><Relationship Id="rId1" Type="http://schemas.openxmlformats.org/officeDocument/2006/relationships/themeOverride" Target="../theme/themeOverride283.xml"/></Relationships>
</file>

<file path=ppt/charts/_rels/chart316.xml.rels><?xml version="1.0" encoding="UTF-8" standalone="yes"?>
<Relationships xmlns="http://schemas.openxmlformats.org/package/2006/relationships"><Relationship Id="rId2" Type="http://schemas.openxmlformats.org/officeDocument/2006/relationships/package" Target="../embeddings/Microsoft_Excel_Worksheet315.xlsx"/><Relationship Id="rId1" Type="http://schemas.openxmlformats.org/officeDocument/2006/relationships/themeOverride" Target="../theme/themeOverride284.xml"/></Relationships>
</file>

<file path=ppt/charts/_rels/chart317.xml.rels><?xml version="1.0" encoding="UTF-8" standalone="yes"?>
<Relationships xmlns="http://schemas.openxmlformats.org/package/2006/relationships"><Relationship Id="rId2" Type="http://schemas.openxmlformats.org/officeDocument/2006/relationships/package" Target="../embeddings/Microsoft_Excel_Worksheet316.xlsx"/><Relationship Id="rId1" Type="http://schemas.openxmlformats.org/officeDocument/2006/relationships/themeOverride" Target="../theme/themeOverride285.xml"/></Relationships>
</file>

<file path=ppt/charts/_rels/chart318.xml.rels><?xml version="1.0" encoding="UTF-8" standalone="yes"?>
<Relationships xmlns="http://schemas.openxmlformats.org/package/2006/relationships"><Relationship Id="rId3" Type="http://schemas.openxmlformats.org/officeDocument/2006/relationships/package" Target="../embeddings/Microsoft_Excel_Worksheet317.xlsx"/><Relationship Id="rId2" Type="http://schemas.microsoft.com/office/2011/relationships/chartColorStyle" Target="colors33.xml"/><Relationship Id="rId1" Type="http://schemas.microsoft.com/office/2011/relationships/chartStyle" Target="style33.xml"/></Relationships>
</file>

<file path=ppt/charts/_rels/chart319.xml.rels><?xml version="1.0" encoding="UTF-8" standalone="yes"?>
<Relationships xmlns="http://schemas.openxmlformats.org/package/2006/relationships"><Relationship Id="rId3" Type="http://schemas.openxmlformats.org/officeDocument/2006/relationships/package" Target="../embeddings/Microsoft_Excel_Worksheet318.xlsx"/><Relationship Id="rId2" Type="http://schemas.microsoft.com/office/2011/relationships/chartColorStyle" Target="colors34.xml"/><Relationship Id="rId1" Type="http://schemas.microsoft.com/office/2011/relationships/chartStyle" Target="style34.xml"/></Relationships>
</file>

<file path=ppt/charts/_rels/chart32.xml.rels><?xml version="1.0" encoding="UTF-8" standalone="yes"?>
<Relationships xmlns="http://schemas.openxmlformats.org/package/2006/relationships"><Relationship Id="rId2" Type="http://schemas.openxmlformats.org/officeDocument/2006/relationships/package" Target="../embeddings/Microsoft_Excel_Worksheet31.xlsx"/><Relationship Id="rId1" Type="http://schemas.openxmlformats.org/officeDocument/2006/relationships/themeOverride" Target="../theme/themeOverride32.xml"/></Relationships>
</file>

<file path=ppt/charts/_rels/chart320.xml.rels><?xml version="1.0" encoding="UTF-8" standalone="yes"?>
<Relationships xmlns="http://schemas.openxmlformats.org/package/2006/relationships"><Relationship Id="rId2" Type="http://schemas.openxmlformats.org/officeDocument/2006/relationships/package" Target="../embeddings/Microsoft_Excel_Worksheet319.xlsx"/><Relationship Id="rId1" Type="http://schemas.openxmlformats.org/officeDocument/2006/relationships/themeOverride" Target="../theme/themeOverride286.xml"/></Relationships>
</file>

<file path=ppt/charts/_rels/chart321.xml.rels><?xml version="1.0" encoding="UTF-8" standalone="yes"?>
<Relationships xmlns="http://schemas.openxmlformats.org/package/2006/relationships"><Relationship Id="rId2" Type="http://schemas.openxmlformats.org/officeDocument/2006/relationships/package" Target="../embeddings/Microsoft_Excel_Worksheet320.xlsx"/><Relationship Id="rId1" Type="http://schemas.openxmlformats.org/officeDocument/2006/relationships/themeOverride" Target="../theme/themeOverride287.xml"/></Relationships>
</file>

<file path=ppt/charts/_rels/chart322.xml.rels><?xml version="1.0" encoding="UTF-8" standalone="yes"?>
<Relationships xmlns="http://schemas.openxmlformats.org/package/2006/relationships"><Relationship Id="rId2" Type="http://schemas.openxmlformats.org/officeDocument/2006/relationships/package" Target="../embeddings/Microsoft_Excel_Worksheet321.xlsx"/><Relationship Id="rId1" Type="http://schemas.openxmlformats.org/officeDocument/2006/relationships/themeOverride" Target="../theme/themeOverride288.xml"/></Relationships>
</file>

<file path=ppt/charts/_rels/chart323.xml.rels><?xml version="1.0" encoding="UTF-8" standalone="yes"?>
<Relationships xmlns="http://schemas.openxmlformats.org/package/2006/relationships"><Relationship Id="rId2" Type="http://schemas.openxmlformats.org/officeDocument/2006/relationships/package" Target="../embeddings/Microsoft_Excel_Worksheet322.xlsx"/><Relationship Id="rId1" Type="http://schemas.openxmlformats.org/officeDocument/2006/relationships/themeOverride" Target="../theme/themeOverride289.xml"/></Relationships>
</file>

<file path=ppt/charts/_rels/chart324.xml.rels><?xml version="1.0" encoding="UTF-8" standalone="yes"?>
<Relationships xmlns="http://schemas.openxmlformats.org/package/2006/relationships"><Relationship Id="rId3" Type="http://schemas.openxmlformats.org/officeDocument/2006/relationships/package" Target="../embeddings/Microsoft_Excel_Worksheet323.xlsx"/><Relationship Id="rId2" Type="http://schemas.microsoft.com/office/2011/relationships/chartColorStyle" Target="colors35.xml"/><Relationship Id="rId1" Type="http://schemas.microsoft.com/office/2011/relationships/chartStyle" Target="style35.xml"/></Relationships>
</file>

<file path=ppt/charts/_rels/chart325.xml.rels><?xml version="1.0" encoding="UTF-8" standalone="yes"?>
<Relationships xmlns="http://schemas.openxmlformats.org/package/2006/relationships"><Relationship Id="rId3" Type="http://schemas.openxmlformats.org/officeDocument/2006/relationships/package" Target="../embeddings/Microsoft_Excel_Worksheet324.xlsx"/><Relationship Id="rId2" Type="http://schemas.microsoft.com/office/2011/relationships/chartColorStyle" Target="colors36.xml"/><Relationship Id="rId1" Type="http://schemas.microsoft.com/office/2011/relationships/chartStyle" Target="style36.xml"/></Relationships>
</file>

<file path=ppt/charts/_rels/chart326.xml.rels><?xml version="1.0" encoding="UTF-8" standalone="yes"?>
<Relationships xmlns="http://schemas.openxmlformats.org/package/2006/relationships"><Relationship Id="rId2" Type="http://schemas.openxmlformats.org/officeDocument/2006/relationships/package" Target="../embeddings/Microsoft_Excel_Worksheet325.xlsx"/><Relationship Id="rId1" Type="http://schemas.openxmlformats.org/officeDocument/2006/relationships/themeOverride" Target="../theme/themeOverride290.xml"/></Relationships>
</file>

<file path=ppt/charts/_rels/chart327.xml.rels><?xml version="1.0" encoding="UTF-8" standalone="yes"?>
<Relationships xmlns="http://schemas.openxmlformats.org/package/2006/relationships"><Relationship Id="rId2" Type="http://schemas.openxmlformats.org/officeDocument/2006/relationships/package" Target="../embeddings/Microsoft_Excel_Worksheet326.xlsx"/><Relationship Id="rId1" Type="http://schemas.openxmlformats.org/officeDocument/2006/relationships/themeOverride" Target="../theme/themeOverride291.xml"/></Relationships>
</file>

<file path=ppt/charts/_rels/chart328.xml.rels><?xml version="1.0" encoding="UTF-8" standalone="yes"?>
<Relationships xmlns="http://schemas.openxmlformats.org/package/2006/relationships"><Relationship Id="rId2" Type="http://schemas.openxmlformats.org/officeDocument/2006/relationships/package" Target="../embeddings/Microsoft_Excel_Worksheet327.xlsx"/><Relationship Id="rId1" Type="http://schemas.openxmlformats.org/officeDocument/2006/relationships/themeOverride" Target="../theme/themeOverride292.xml"/></Relationships>
</file>

<file path=ppt/charts/_rels/chart329.xml.rels><?xml version="1.0" encoding="UTF-8" standalone="yes"?>
<Relationships xmlns="http://schemas.openxmlformats.org/package/2006/relationships"><Relationship Id="rId2" Type="http://schemas.openxmlformats.org/officeDocument/2006/relationships/package" Target="../embeddings/Microsoft_Excel_Worksheet328.xlsx"/><Relationship Id="rId1" Type="http://schemas.openxmlformats.org/officeDocument/2006/relationships/themeOverride" Target="../theme/themeOverride293.xml"/></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33.xml"/></Relationships>
</file>

<file path=ppt/charts/_rels/chart330.xml.rels><?xml version="1.0" encoding="UTF-8" standalone="yes"?>
<Relationships xmlns="http://schemas.openxmlformats.org/package/2006/relationships"><Relationship Id="rId3" Type="http://schemas.openxmlformats.org/officeDocument/2006/relationships/package" Target="../embeddings/Microsoft_Excel_Worksheet329.xlsx"/><Relationship Id="rId2" Type="http://schemas.microsoft.com/office/2011/relationships/chartColorStyle" Target="colors37.xml"/><Relationship Id="rId1" Type="http://schemas.microsoft.com/office/2011/relationships/chartStyle" Target="style37.xml"/></Relationships>
</file>

<file path=ppt/charts/_rels/chart331.xml.rels><?xml version="1.0" encoding="UTF-8" standalone="yes"?>
<Relationships xmlns="http://schemas.openxmlformats.org/package/2006/relationships"><Relationship Id="rId3" Type="http://schemas.openxmlformats.org/officeDocument/2006/relationships/package" Target="../embeddings/Microsoft_Excel_Worksheet330.xlsx"/><Relationship Id="rId2" Type="http://schemas.microsoft.com/office/2011/relationships/chartColorStyle" Target="colors38.xml"/><Relationship Id="rId1" Type="http://schemas.microsoft.com/office/2011/relationships/chartStyle" Target="style38.xml"/></Relationships>
</file>

<file path=ppt/charts/_rels/chart332.xml.rels><?xml version="1.0" encoding="UTF-8" standalone="yes"?>
<Relationships xmlns="http://schemas.openxmlformats.org/package/2006/relationships"><Relationship Id="rId2" Type="http://schemas.openxmlformats.org/officeDocument/2006/relationships/package" Target="../embeddings/Microsoft_Excel_Worksheet331.xlsx"/><Relationship Id="rId1" Type="http://schemas.openxmlformats.org/officeDocument/2006/relationships/themeOverride" Target="../theme/themeOverride294.xml"/></Relationships>
</file>

<file path=ppt/charts/_rels/chart333.xml.rels><?xml version="1.0" encoding="UTF-8" standalone="yes"?>
<Relationships xmlns="http://schemas.openxmlformats.org/package/2006/relationships"><Relationship Id="rId2" Type="http://schemas.openxmlformats.org/officeDocument/2006/relationships/package" Target="../embeddings/Microsoft_Excel_Worksheet332.xlsx"/><Relationship Id="rId1" Type="http://schemas.openxmlformats.org/officeDocument/2006/relationships/themeOverride" Target="../theme/themeOverride295.xml"/></Relationships>
</file>

<file path=ppt/charts/_rels/chart334.xml.rels><?xml version="1.0" encoding="UTF-8" standalone="yes"?>
<Relationships xmlns="http://schemas.openxmlformats.org/package/2006/relationships"><Relationship Id="rId2" Type="http://schemas.openxmlformats.org/officeDocument/2006/relationships/package" Target="../embeddings/Microsoft_Excel_Worksheet333.xlsx"/><Relationship Id="rId1" Type="http://schemas.openxmlformats.org/officeDocument/2006/relationships/themeOverride" Target="../theme/themeOverride296.xml"/></Relationships>
</file>

<file path=ppt/charts/_rels/chart335.xml.rels><?xml version="1.0" encoding="UTF-8" standalone="yes"?>
<Relationships xmlns="http://schemas.openxmlformats.org/package/2006/relationships"><Relationship Id="rId2" Type="http://schemas.openxmlformats.org/officeDocument/2006/relationships/package" Target="../embeddings/Microsoft_Excel_Worksheet334.xlsx"/><Relationship Id="rId1" Type="http://schemas.openxmlformats.org/officeDocument/2006/relationships/themeOverride" Target="../theme/themeOverride297.xml"/></Relationships>
</file>

<file path=ppt/charts/_rels/chart336.xml.rels><?xml version="1.0" encoding="UTF-8" standalone="yes"?>
<Relationships xmlns="http://schemas.openxmlformats.org/package/2006/relationships"><Relationship Id="rId3" Type="http://schemas.openxmlformats.org/officeDocument/2006/relationships/package" Target="../embeddings/Microsoft_Excel_Worksheet335.xlsx"/><Relationship Id="rId2" Type="http://schemas.microsoft.com/office/2011/relationships/chartColorStyle" Target="colors39.xml"/><Relationship Id="rId1" Type="http://schemas.microsoft.com/office/2011/relationships/chartStyle" Target="style39.xml"/></Relationships>
</file>

<file path=ppt/charts/_rels/chart337.xml.rels><?xml version="1.0" encoding="UTF-8" standalone="yes"?>
<Relationships xmlns="http://schemas.openxmlformats.org/package/2006/relationships"><Relationship Id="rId3" Type="http://schemas.openxmlformats.org/officeDocument/2006/relationships/package" Target="../embeddings/Microsoft_Excel_Worksheet336.xlsx"/><Relationship Id="rId2" Type="http://schemas.microsoft.com/office/2011/relationships/chartColorStyle" Target="colors40.xml"/><Relationship Id="rId1" Type="http://schemas.microsoft.com/office/2011/relationships/chartStyle" Target="style40.xml"/></Relationships>
</file>

<file path=ppt/charts/_rels/chart338.xml.rels><?xml version="1.0" encoding="UTF-8" standalone="yes"?>
<Relationships xmlns="http://schemas.openxmlformats.org/package/2006/relationships"><Relationship Id="rId2" Type="http://schemas.openxmlformats.org/officeDocument/2006/relationships/package" Target="../embeddings/Microsoft_Excel_Worksheet337.xlsx"/><Relationship Id="rId1" Type="http://schemas.openxmlformats.org/officeDocument/2006/relationships/themeOverride" Target="../theme/themeOverride298.xml"/></Relationships>
</file>

<file path=ppt/charts/_rels/chart339.xml.rels><?xml version="1.0" encoding="UTF-8" standalone="yes"?>
<Relationships xmlns="http://schemas.openxmlformats.org/package/2006/relationships"><Relationship Id="rId2" Type="http://schemas.openxmlformats.org/officeDocument/2006/relationships/package" Target="../embeddings/Microsoft_Excel_Worksheet338.xlsx"/><Relationship Id="rId1" Type="http://schemas.openxmlformats.org/officeDocument/2006/relationships/themeOverride" Target="../theme/themeOverride299.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34.xml"/></Relationships>
</file>

<file path=ppt/charts/_rels/chart340.xml.rels><?xml version="1.0" encoding="UTF-8" standalone="yes"?>
<Relationships xmlns="http://schemas.openxmlformats.org/package/2006/relationships"><Relationship Id="rId2" Type="http://schemas.openxmlformats.org/officeDocument/2006/relationships/package" Target="../embeddings/Microsoft_Excel_Worksheet339.xlsx"/><Relationship Id="rId1" Type="http://schemas.openxmlformats.org/officeDocument/2006/relationships/themeOverride" Target="../theme/themeOverride300.xml"/></Relationships>
</file>

<file path=ppt/charts/_rels/chart341.xml.rels><?xml version="1.0" encoding="UTF-8" standalone="yes"?>
<Relationships xmlns="http://schemas.openxmlformats.org/package/2006/relationships"><Relationship Id="rId2" Type="http://schemas.openxmlformats.org/officeDocument/2006/relationships/package" Target="../embeddings/Microsoft_Excel_Worksheet340.xlsx"/><Relationship Id="rId1" Type="http://schemas.openxmlformats.org/officeDocument/2006/relationships/themeOverride" Target="../theme/themeOverride301.xml"/></Relationships>
</file>

<file path=ppt/charts/_rels/chart342.xml.rels><?xml version="1.0" encoding="UTF-8" standalone="yes"?>
<Relationships xmlns="http://schemas.openxmlformats.org/package/2006/relationships"><Relationship Id="rId3" Type="http://schemas.openxmlformats.org/officeDocument/2006/relationships/package" Target="../embeddings/Microsoft_Excel_Worksheet341.xlsx"/><Relationship Id="rId2" Type="http://schemas.microsoft.com/office/2011/relationships/chartColorStyle" Target="colors41.xml"/><Relationship Id="rId1" Type="http://schemas.microsoft.com/office/2011/relationships/chartStyle" Target="style41.xml"/></Relationships>
</file>

<file path=ppt/charts/_rels/chart343.xml.rels><?xml version="1.0" encoding="UTF-8" standalone="yes"?>
<Relationships xmlns="http://schemas.openxmlformats.org/package/2006/relationships"><Relationship Id="rId3" Type="http://schemas.openxmlformats.org/officeDocument/2006/relationships/package" Target="../embeddings/Microsoft_Excel_Worksheet342.xlsx"/><Relationship Id="rId2" Type="http://schemas.microsoft.com/office/2011/relationships/chartColorStyle" Target="colors42.xml"/><Relationship Id="rId1" Type="http://schemas.microsoft.com/office/2011/relationships/chartStyle" Target="style42.xml"/></Relationships>
</file>

<file path=ppt/charts/_rels/chart344.xml.rels><?xml version="1.0" encoding="UTF-8" standalone="yes"?>
<Relationships xmlns="http://schemas.openxmlformats.org/package/2006/relationships"><Relationship Id="rId2" Type="http://schemas.openxmlformats.org/officeDocument/2006/relationships/package" Target="../embeddings/Microsoft_Excel_Worksheet343.xlsx"/><Relationship Id="rId1" Type="http://schemas.openxmlformats.org/officeDocument/2006/relationships/themeOverride" Target="../theme/themeOverride302.xml"/></Relationships>
</file>

<file path=ppt/charts/_rels/chart345.xml.rels><?xml version="1.0" encoding="UTF-8" standalone="yes"?>
<Relationships xmlns="http://schemas.openxmlformats.org/package/2006/relationships"><Relationship Id="rId2" Type="http://schemas.openxmlformats.org/officeDocument/2006/relationships/package" Target="../embeddings/Microsoft_Excel_Worksheet344.xlsx"/><Relationship Id="rId1" Type="http://schemas.openxmlformats.org/officeDocument/2006/relationships/themeOverride" Target="../theme/themeOverride303.xml"/></Relationships>
</file>

<file path=ppt/charts/_rels/chart346.xml.rels><?xml version="1.0" encoding="UTF-8" standalone="yes"?>
<Relationships xmlns="http://schemas.openxmlformats.org/package/2006/relationships"><Relationship Id="rId2" Type="http://schemas.openxmlformats.org/officeDocument/2006/relationships/package" Target="../embeddings/Microsoft_Excel_Worksheet345.xlsx"/><Relationship Id="rId1" Type="http://schemas.openxmlformats.org/officeDocument/2006/relationships/themeOverride" Target="../theme/themeOverride304.xml"/></Relationships>
</file>

<file path=ppt/charts/_rels/chart347.xml.rels><?xml version="1.0" encoding="UTF-8" standalone="yes"?>
<Relationships xmlns="http://schemas.openxmlformats.org/package/2006/relationships"><Relationship Id="rId2" Type="http://schemas.openxmlformats.org/officeDocument/2006/relationships/package" Target="../embeddings/Microsoft_Excel_Worksheet346.xlsx"/><Relationship Id="rId1" Type="http://schemas.openxmlformats.org/officeDocument/2006/relationships/themeOverride" Target="../theme/themeOverride305.xml"/></Relationships>
</file>

<file path=ppt/charts/_rels/chart348.xml.rels><?xml version="1.0" encoding="UTF-8" standalone="yes"?>
<Relationships xmlns="http://schemas.openxmlformats.org/package/2006/relationships"><Relationship Id="rId3" Type="http://schemas.openxmlformats.org/officeDocument/2006/relationships/package" Target="../embeddings/Microsoft_Excel_Worksheet347.xlsx"/><Relationship Id="rId2" Type="http://schemas.microsoft.com/office/2011/relationships/chartColorStyle" Target="colors43.xml"/><Relationship Id="rId1" Type="http://schemas.microsoft.com/office/2011/relationships/chartStyle" Target="style43.xml"/></Relationships>
</file>

<file path=ppt/charts/_rels/chart349.xml.rels><?xml version="1.0" encoding="UTF-8" standalone="yes"?>
<Relationships xmlns="http://schemas.openxmlformats.org/package/2006/relationships"><Relationship Id="rId3" Type="http://schemas.openxmlformats.org/officeDocument/2006/relationships/package" Target="../embeddings/Microsoft_Excel_Worksheet348.xlsx"/><Relationship Id="rId2" Type="http://schemas.microsoft.com/office/2011/relationships/chartColorStyle" Target="colors44.xml"/><Relationship Id="rId1" Type="http://schemas.microsoft.com/office/2011/relationships/chartStyle" Target="style44.xml"/></Relationships>
</file>

<file path=ppt/charts/_rels/chart35.xml.rels><?xml version="1.0" encoding="UTF-8" standalone="yes"?>
<Relationships xmlns="http://schemas.openxmlformats.org/package/2006/relationships"><Relationship Id="rId2" Type="http://schemas.openxmlformats.org/officeDocument/2006/relationships/package" Target="../embeddings/Microsoft_Excel_Worksheet34.xlsx"/><Relationship Id="rId1" Type="http://schemas.openxmlformats.org/officeDocument/2006/relationships/themeOverride" Target="../theme/themeOverride35.xml"/></Relationships>
</file>

<file path=ppt/charts/_rels/chart350.xml.rels><?xml version="1.0" encoding="UTF-8" standalone="yes"?>
<Relationships xmlns="http://schemas.openxmlformats.org/package/2006/relationships"><Relationship Id="rId3" Type="http://schemas.openxmlformats.org/officeDocument/2006/relationships/package" Target="../embeddings/Microsoft_Excel_Worksheet349.xlsx"/><Relationship Id="rId2" Type="http://schemas.microsoft.com/office/2011/relationships/chartColorStyle" Target="colors45.xml"/><Relationship Id="rId1" Type="http://schemas.microsoft.com/office/2011/relationships/chartStyle" Target="style45.xml"/></Relationships>
</file>

<file path=ppt/charts/_rels/chart351.xml.rels><?xml version="1.0" encoding="UTF-8" standalone="yes"?>
<Relationships xmlns="http://schemas.openxmlformats.org/package/2006/relationships"><Relationship Id="rId3" Type="http://schemas.openxmlformats.org/officeDocument/2006/relationships/package" Target="../embeddings/Microsoft_Excel_Worksheet350.xlsx"/><Relationship Id="rId2" Type="http://schemas.microsoft.com/office/2011/relationships/chartColorStyle" Target="colors46.xml"/><Relationship Id="rId1" Type="http://schemas.microsoft.com/office/2011/relationships/chartStyle" Target="style46.xml"/></Relationships>
</file>

<file path=ppt/charts/_rels/chart352.xml.rels><?xml version="1.0" encoding="UTF-8" standalone="yes"?>
<Relationships xmlns="http://schemas.openxmlformats.org/package/2006/relationships"><Relationship Id="rId3" Type="http://schemas.openxmlformats.org/officeDocument/2006/relationships/package" Target="../embeddings/Microsoft_Excel_Worksheet351.xlsx"/><Relationship Id="rId2" Type="http://schemas.microsoft.com/office/2011/relationships/chartColorStyle" Target="colors47.xml"/><Relationship Id="rId1" Type="http://schemas.microsoft.com/office/2011/relationships/chartStyle" Target="style47.xml"/></Relationships>
</file>

<file path=ppt/charts/_rels/chart353.xml.rels><?xml version="1.0" encoding="UTF-8" standalone="yes"?>
<Relationships xmlns="http://schemas.openxmlformats.org/package/2006/relationships"><Relationship Id="rId3" Type="http://schemas.openxmlformats.org/officeDocument/2006/relationships/package" Target="../embeddings/Microsoft_Excel_Worksheet352.xlsx"/><Relationship Id="rId2" Type="http://schemas.microsoft.com/office/2011/relationships/chartColorStyle" Target="colors48.xml"/><Relationship Id="rId1" Type="http://schemas.microsoft.com/office/2011/relationships/chartStyle" Target="style48.xml"/></Relationships>
</file>

<file path=ppt/charts/_rels/chart354.xml.rels><?xml version="1.0" encoding="UTF-8" standalone="yes"?>
<Relationships xmlns="http://schemas.openxmlformats.org/package/2006/relationships"><Relationship Id="rId3" Type="http://schemas.openxmlformats.org/officeDocument/2006/relationships/package" Target="../embeddings/Microsoft_Excel_Worksheet353.xlsx"/><Relationship Id="rId2" Type="http://schemas.microsoft.com/office/2011/relationships/chartColorStyle" Target="colors49.xml"/><Relationship Id="rId1" Type="http://schemas.microsoft.com/office/2011/relationships/chartStyle" Target="style49.xml"/></Relationships>
</file>

<file path=ppt/charts/_rels/chart355.xml.rels><?xml version="1.0" encoding="UTF-8" standalone="yes"?>
<Relationships xmlns="http://schemas.openxmlformats.org/package/2006/relationships"><Relationship Id="rId3" Type="http://schemas.openxmlformats.org/officeDocument/2006/relationships/package" Target="../embeddings/Microsoft_Excel_Worksheet354.xlsx"/><Relationship Id="rId2" Type="http://schemas.microsoft.com/office/2011/relationships/chartColorStyle" Target="colors50.xml"/><Relationship Id="rId1" Type="http://schemas.microsoft.com/office/2011/relationships/chartStyle" Target="style50.xml"/></Relationships>
</file>

<file path=ppt/charts/_rels/chart356.xml.rels><?xml version="1.0" encoding="UTF-8" standalone="yes"?>
<Relationships xmlns="http://schemas.openxmlformats.org/package/2006/relationships"><Relationship Id="rId3" Type="http://schemas.openxmlformats.org/officeDocument/2006/relationships/package" Target="../embeddings/Microsoft_Excel_Worksheet355.xlsx"/><Relationship Id="rId2" Type="http://schemas.microsoft.com/office/2011/relationships/chartColorStyle" Target="colors51.xml"/><Relationship Id="rId1" Type="http://schemas.microsoft.com/office/2011/relationships/chartStyle" Target="style51.xml"/></Relationships>
</file>

<file path=ppt/charts/_rels/chart357.xml.rels><?xml version="1.0" encoding="UTF-8" standalone="yes"?>
<Relationships xmlns="http://schemas.openxmlformats.org/package/2006/relationships"><Relationship Id="rId3" Type="http://schemas.openxmlformats.org/officeDocument/2006/relationships/package" Target="../embeddings/Microsoft_Excel_Worksheet356.xlsx"/><Relationship Id="rId2" Type="http://schemas.microsoft.com/office/2011/relationships/chartColorStyle" Target="colors52.xml"/><Relationship Id="rId1" Type="http://schemas.microsoft.com/office/2011/relationships/chartStyle" Target="style52.xml"/></Relationships>
</file>

<file path=ppt/charts/_rels/chart358.xml.rels><?xml version="1.0" encoding="UTF-8" standalone="yes"?>
<Relationships xmlns="http://schemas.openxmlformats.org/package/2006/relationships"><Relationship Id="rId3" Type="http://schemas.openxmlformats.org/officeDocument/2006/relationships/package" Target="../embeddings/Microsoft_Excel_Worksheet357.xlsx"/><Relationship Id="rId2" Type="http://schemas.microsoft.com/office/2011/relationships/chartColorStyle" Target="colors53.xml"/><Relationship Id="rId1" Type="http://schemas.microsoft.com/office/2011/relationships/chartStyle" Target="style53.xml"/></Relationships>
</file>

<file path=ppt/charts/_rels/chart359.xml.rels><?xml version="1.0" encoding="UTF-8" standalone="yes"?>
<Relationships xmlns="http://schemas.openxmlformats.org/package/2006/relationships"><Relationship Id="rId3" Type="http://schemas.openxmlformats.org/officeDocument/2006/relationships/package" Target="../embeddings/Microsoft_Excel_Worksheet358.xlsx"/><Relationship Id="rId2" Type="http://schemas.microsoft.com/office/2011/relationships/chartColorStyle" Target="colors54.xml"/><Relationship Id="rId1" Type="http://schemas.microsoft.com/office/2011/relationships/chartStyle" Target="style54.xml"/></Relationships>
</file>

<file path=ppt/charts/_rels/chart36.xml.rels><?xml version="1.0" encoding="UTF-8" standalone="yes"?>
<Relationships xmlns="http://schemas.openxmlformats.org/package/2006/relationships"><Relationship Id="rId2" Type="http://schemas.openxmlformats.org/officeDocument/2006/relationships/package" Target="../embeddings/Microsoft_Excel_Worksheet35.xlsx"/><Relationship Id="rId1" Type="http://schemas.openxmlformats.org/officeDocument/2006/relationships/themeOverride" Target="../theme/themeOverride36.xml"/></Relationships>
</file>

<file path=ppt/charts/_rels/chart360.xml.rels><?xml version="1.0" encoding="UTF-8" standalone="yes"?>
<Relationships xmlns="http://schemas.openxmlformats.org/package/2006/relationships"><Relationship Id="rId3" Type="http://schemas.openxmlformats.org/officeDocument/2006/relationships/package" Target="../embeddings/Microsoft_Excel_Worksheet359.xlsx"/><Relationship Id="rId2" Type="http://schemas.microsoft.com/office/2011/relationships/chartColorStyle" Target="colors55.xml"/><Relationship Id="rId1" Type="http://schemas.microsoft.com/office/2011/relationships/chartStyle" Target="style55.xml"/></Relationships>
</file>

<file path=ppt/charts/_rels/chart37.xml.rels><?xml version="1.0" encoding="UTF-8" standalone="yes"?>
<Relationships xmlns="http://schemas.openxmlformats.org/package/2006/relationships"><Relationship Id="rId2" Type="http://schemas.openxmlformats.org/officeDocument/2006/relationships/package" Target="../embeddings/Microsoft_Excel_Worksheet36.xlsx"/><Relationship Id="rId1" Type="http://schemas.openxmlformats.org/officeDocument/2006/relationships/themeOverride" Target="../theme/themeOverride37.xml"/></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38.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39.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_rels/chart40.xml.rels><?xml version="1.0" encoding="UTF-8" standalone="yes"?>
<Relationships xmlns="http://schemas.openxmlformats.org/package/2006/relationships"><Relationship Id="rId2" Type="http://schemas.openxmlformats.org/officeDocument/2006/relationships/package" Target="../embeddings/Microsoft_Excel_Worksheet39.xlsx"/><Relationship Id="rId1" Type="http://schemas.openxmlformats.org/officeDocument/2006/relationships/themeOverride" Target="../theme/themeOverride40.xml"/></Relationships>
</file>

<file path=ppt/charts/_rels/chart41.xml.rels><?xml version="1.0" encoding="UTF-8" standalone="yes"?>
<Relationships xmlns="http://schemas.openxmlformats.org/package/2006/relationships"><Relationship Id="rId2" Type="http://schemas.openxmlformats.org/officeDocument/2006/relationships/package" Target="../embeddings/Microsoft_Excel_Worksheet40.xlsx"/><Relationship Id="rId1" Type="http://schemas.openxmlformats.org/officeDocument/2006/relationships/themeOverride" Target="../theme/themeOverride41.xml"/></Relationships>
</file>

<file path=ppt/charts/_rels/chart42.xml.rels><?xml version="1.0" encoding="UTF-8" standalone="yes"?>
<Relationships xmlns="http://schemas.openxmlformats.org/package/2006/relationships"><Relationship Id="rId2" Type="http://schemas.openxmlformats.org/officeDocument/2006/relationships/package" Target="../embeddings/Microsoft_Excel_Worksheet41.xlsx"/><Relationship Id="rId1" Type="http://schemas.openxmlformats.org/officeDocument/2006/relationships/themeOverride" Target="../theme/themeOverride42.xml"/></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43.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44.xml"/></Relationships>
</file>

<file path=ppt/charts/_rels/chart45.xml.rels><?xml version="1.0" encoding="UTF-8" standalone="yes"?>
<Relationships xmlns="http://schemas.openxmlformats.org/package/2006/relationships"><Relationship Id="rId2" Type="http://schemas.openxmlformats.org/officeDocument/2006/relationships/package" Target="../embeddings/Microsoft_Excel_Worksheet44.xlsx"/><Relationship Id="rId1" Type="http://schemas.openxmlformats.org/officeDocument/2006/relationships/themeOverride" Target="../theme/themeOverride45.xml"/></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46.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47.xml"/></Relationships>
</file>

<file path=ppt/charts/_rels/chart48.xml.rels><?xml version="1.0" encoding="UTF-8" standalone="yes"?>
<Relationships xmlns="http://schemas.openxmlformats.org/package/2006/relationships"><Relationship Id="rId2" Type="http://schemas.openxmlformats.org/officeDocument/2006/relationships/package" Target="../embeddings/Microsoft_Excel_Worksheet47.xlsx"/><Relationship Id="rId1" Type="http://schemas.openxmlformats.org/officeDocument/2006/relationships/themeOverride" Target="../theme/themeOverride48.xml"/></Relationships>
</file>

<file path=ppt/charts/_rels/chart49.xml.rels><?xml version="1.0" encoding="UTF-8" standalone="yes"?>
<Relationships xmlns="http://schemas.openxmlformats.org/package/2006/relationships"><Relationship Id="rId2" Type="http://schemas.openxmlformats.org/officeDocument/2006/relationships/package" Target="../embeddings/Microsoft_Excel_Worksheet48.xlsx"/><Relationship Id="rId1" Type="http://schemas.openxmlformats.org/officeDocument/2006/relationships/themeOverride" Target="../theme/themeOverride49.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5.xml"/></Relationships>
</file>

<file path=ppt/charts/_rels/chart50.xml.rels><?xml version="1.0" encoding="UTF-8" standalone="yes"?>
<Relationships xmlns="http://schemas.openxmlformats.org/package/2006/relationships"><Relationship Id="rId2" Type="http://schemas.openxmlformats.org/officeDocument/2006/relationships/package" Target="../embeddings/Microsoft_Excel_Worksheet49.xlsx"/><Relationship Id="rId1" Type="http://schemas.openxmlformats.org/officeDocument/2006/relationships/themeOverride" Target="../theme/themeOverride50.xml"/></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51.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52.xml"/></Relationships>
</file>

<file path=ppt/charts/_rels/chart53.xml.rels><?xml version="1.0" encoding="UTF-8" standalone="yes"?>
<Relationships xmlns="http://schemas.openxmlformats.org/package/2006/relationships"><Relationship Id="rId2" Type="http://schemas.openxmlformats.org/officeDocument/2006/relationships/package" Target="../embeddings/Microsoft_Excel_Worksheet52.xlsx"/><Relationship Id="rId1" Type="http://schemas.openxmlformats.org/officeDocument/2006/relationships/themeOverride" Target="../theme/themeOverride53.xml"/></Relationships>
</file>

<file path=ppt/charts/_rels/chart54.xml.rels><?xml version="1.0" encoding="UTF-8" standalone="yes"?>
<Relationships xmlns="http://schemas.openxmlformats.org/package/2006/relationships"><Relationship Id="rId2" Type="http://schemas.openxmlformats.org/officeDocument/2006/relationships/package" Target="../embeddings/Microsoft_Excel_Worksheet53.xlsx"/><Relationship Id="rId1" Type="http://schemas.openxmlformats.org/officeDocument/2006/relationships/themeOverride" Target="../theme/themeOverride54.xml"/></Relationships>
</file>

<file path=ppt/charts/_rels/chart55.xml.rels><?xml version="1.0" encoding="UTF-8" standalone="yes"?>
<Relationships xmlns="http://schemas.openxmlformats.org/package/2006/relationships"><Relationship Id="rId2" Type="http://schemas.openxmlformats.org/officeDocument/2006/relationships/package" Target="../embeddings/Microsoft_Excel_Worksheet54.xlsx"/><Relationship Id="rId1" Type="http://schemas.openxmlformats.org/officeDocument/2006/relationships/themeOverride" Target="../theme/themeOverride55.xml"/></Relationships>
</file>

<file path=ppt/charts/_rels/chart56.xml.rels><?xml version="1.0" encoding="UTF-8" standalone="yes"?>
<Relationships xmlns="http://schemas.openxmlformats.org/package/2006/relationships"><Relationship Id="rId2" Type="http://schemas.openxmlformats.org/officeDocument/2006/relationships/package" Target="../embeddings/Microsoft_Excel_Worksheet55.xlsx"/><Relationship Id="rId1" Type="http://schemas.openxmlformats.org/officeDocument/2006/relationships/themeOverride" Target="../theme/themeOverride56.xml"/></Relationships>
</file>

<file path=ppt/charts/_rels/chart57.xml.rels><?xml version="1.0" encoding="UTF-8" standalone="yes"?>
<Relationships xmlns="http://schemas.openxmlformats.org/package/2006/relationships"><Relationship Id="rId2" Type="http://schemas.openxmlformats.org/officeDocument/2006/relationships/package" Target="../embeddings/Microsoft_Excel_Worksheet56.xlsx"/><Relationship Id="rId1" Type="http://schemas.openxmlformats.org/officeDocument/2006/relationships/themeOverride" Target="../theme/themeOverride57.xml"/></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58.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59.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6.xml"/></Relationships>
</file>

<file path=ppt/charts/_rels/chart60.xml.rels><?xml version="1.0" encoding="UTF-8" standalone="yes"?>
<Relationships xmlns="http://schemas.openxmlformats.org/package/2006/relationships"><Relationship Id="rId2" Type="http://schemas.openxmlformats.org/officeDocument/2006/relationships/package" Target="../embeddings/Microsoft_Excel_Worksheet59.xlsx"/><Relationship Id="rId1" Type="http://schemas.openxmlformats.org/officeDocument/2006/relationships/themeOverride" Target="../theme/themeOverride60.xml"/></Relationships>
</file>

<file path=ppt/charts/_rels/chart61.xml.rels><?xml version="1.0" encoding="UTF-8" standalone="yes"?>
<Relationships xmlns="http://schemas.openxmlformats.org/package/2006/relationships"><Relationship Id="rId2" Type="http://schemas.openxmlformats.org/officeDocument/2006/relationships/package" Target="../embeddings/Microsoft_Excel_Worksheet60.xlsx"/><Relationship Id="rId1" Type="http://schemas.openxmlformats.org/officeDocument/2006/relationships/themeOverride" Target="../theme/themeOverride61.xml"/></Relationships>
</file>

<file path=ppt/charts/_rels/chart62.xml.rels><?xml version="1.0" encoding="UTF-8" standalone="yes"?>
<Relationships xmlns="http://schemas.openxmlformats.org/package/2006/relationships"><Relationship Id="rId2" Type="http://schemas.openxmlformats.org/officeDocument/2006/relationships/package" Target="../embeddings/Microsoft_Excel_Worksheet61.xlsx"/><Relationship Id="rId1" Type="http://schemas.openxmlformats.org/officeDocument/2006/relationships/themeOverride" Target="../theme/themeOverride62.xml"/></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63.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64.xml"/></Relationships>
</file>

<file path=ppt/charts/_rels/chart65.xml.rels><?xml version="1.0" encoding="UTF-8" standalone="yes"?>
<Relationships xmlns="http://schemas.openxmlformats.org/package/2006/relationships"><Relationship Id="rId2" Type="http://schemas.openxmlformats.org/officeDocument/2006/relationships/package" Target="../embeddings/Microsoft_Excel_Worksheet64.xlsx"/><Relationship Id="rId1" Type="http://schemas.openxmlformats.org/officeDocument/2006/relationships/themeOverride" Target="../theme/themeOverride65.xml"/></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66.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67.xml"/></Relationships>
</file>

<file path=ppt/charts/_rels/chart68.xml.rels><?xml version="1.0" encoding="UTF-8" standalone="yes"?>
<Relationships xmlns="http://schemas.openxmlformats.org/package/2006/relationships"><Relationship Id="rId2" Type="http://schemas.openxmlformats.org/officeDocument/2006/relationships/package" Target="../embeddings/Microsoft_Excel_Worksheet67.xlsx"/><Relationship Id="rId1" Type="http://schemas.openxmlformats.org/officeDocument/2006/relationships/themeOverride" Target="../theme/themeOverride68.xml"/></Relationships>
</file>

<file path=ppt/charts/_rels/chart69.xml.rels><?xml version="1.0" encoding="UTF-8" standalone="yes"?>
<Relationships xmlns="http://schemas.openxmlformats.org/package/2006/relationships"><Relationship Id="rId2" Type="http://schemas.openxmlformats.org/officeDocument/2006/relationships/package" Target="../embeddings/Microsoft_Excel_Worksheet68.xlsx"/><Relationship Id="rId1" Type="http://schemas.openxmlformats.org/officeDocument/2006/relationships/themeOverride" Target="../theme/themeOverride69.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7.xml"/></Relationships>
</file>

<file path=ppt/charts/_rels/chart70.xml.rels><?xml version="1.0" encoding="UTF-8" standalone="yes"?>
<Relationships xmlns="http://schemas.openxmlformats.org/package/2006/relationships"><Relationship Id="rId2" Type="http://schemas.openxmlformats.org/officeDocument/2006/relationships/package" Target="../embeddings/Microsoft_Excel_Worksheet69.xlsx"/><Relationship Id="rId1" Type="http://schemas.openxmlformats.org/officeDocument/2006/relationships/themeOverride" Target="../theme/themeOverride70.xml"/></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7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7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7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7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7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7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7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7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79.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8.xml"/></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8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8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8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8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84.xml"/></Relationships>
</file>

<file path=ppt/charts/_rels/chart85.xml.rels><?xml version="1.0" encoding="UTF-8" standalone="yes"?>
<Relationships xmlns="http://schemas.openxmlformats.org/package/2006/relationships"><Relationship Id="rId2" Type="http://schemas.openxmlformats.org/officeDocument/2006/relationships/package" Target="../embeddings/Microsoft_Excel_Worksheet84.xlsx"/><Relationship Id="rId1" Type="http://schemas.openxmlformats.org/officeDocument/2006/relationships/themeOverride" Target="../theme/themeOverride85.xml"/></Relationships>
</file>

<file path=ppt/charts/_rels/chart86.xml.rels><?xml version="1.0" encoding="UTF-8" standalone="yes"?>
<Relationships xmlns="http://schemas.openxmlformats.org/package/2006/relationships"><Relationship Id="rId2" Type="http://schemas.openxmlformats.org/officeDocument/2006/relationships/package" Target="../embeddings/Microsoft_Excel_Worksheet85.xlsx"/><Relationship Id="rId1" Type="http://schemas.openxmlformats.org/officeDocument/2006/relationships/themeOverride" Target="../theme/themeOverride86.xml"/></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87.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88.xml"/></Relationships>
</file>

<file path=ppt/charts/_rels/chart89.xml.rels><?xml version="1.0" encoding="UTF-8" standalone="yes"?>
<Relationships xmlns="http://schemas.openxmlformats.org/package/2006/relationships"><Relationship Id="rId2" Type="http://schemas.openxmlformats.org/officeDocument/2006/relationships/package" Target="../embeddings/Microsoft_Excel_Worksheet88.xlsx"/><Relationship Id="rId1" Type="http://schemas.openxmlformats.org/officeDocument/2006/relationships/themeOverride" Target="../theme/themeOverride89.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9.xml"/></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90.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91.xml"/></Relationships>
</file>

<file path=ppt/charts/_rels/chart92.xml.rels><?xml version="1.0" encoding="UTF-8" standalone="yes"?>
<Relationships xmlns="http://schemas.openxmlformats.org/package/2006/relationships"><Relationship Id="rId2" Type="http://schemas.openxmlformats.org/officeDocument/2006/relationships/package" Target="../embeddings/Microsoft_Excel_Worksheet91.xlsx"/><Relationship Id="rId1" Type="http://schemas.openxmlformats.org/officeDocument/2006/relationships/themeOverride" Target="../theme/themeOverride92.xml"/></Relationships>
</file>

<file path=ppt/charts/_rels/chart93.xml.rels><?xml version="1.0" encoding="UTF-8" standalone="yes"?>
<Relationships xmlns="http://schemas.openxmlformats.org/package/2006/relationships"><Relationship Id="rId2" Type="http://schemas.openxmlformats.org/officeDocument/2006/relationships/package" Target="../embeddings/Microsoft_Excel_Worksheet92.xlsx"/><Relationship Id="rId1" Type="http://schemas.openxmlformats.org/officeDocument/2006/relationships/themeOverride" Target="../theme/themeOverride93.xml"/></Relationships>
</file>

<file path=ppt/charts/_rels/chart94.xml.rels><?xml version="1.0" encoding="UTF-8" standalone="yes"?>
<Relationships xmlns="http://schemas.openxmlformats.org/package/2006/relationships"><Relationship Id="rId2" Type="http://schemas.openxmlformats.org/officeDocument/2006/relationships/package" Target="../embeddings/Microsoft_Excel_Worksheet93.xlsx"/><Relationship Id="rId1" Type="http://schemas.openxmlformats.org/officeDocument/2006/relationships/themeOverride" Target="../theme/themeOverride94.xml"/></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95.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96.xml"/></Relationships>
</file>

<file path=ppt/charts/_rels/chart97.xml.rels><?xml version="1.0" encoding="UTF-8" standalone="yes"?>
<Relationships xmlns="http://schemas.openxmlformats.org/package/2006/relationships"><Relationship Id="rId2" Type="http://schemas.openxmlformats.org/officeDocument/2006/relationships/package" Target="../embeddings/Microsoft_Excel_Worksheet96.xlsx"/><Relationship Id="rId1" Type="http://schemas.openxmlformats.org/officeDocument/2006/relationships/themeOverride" Target="../theme/themeOverride97.xml"/></Relationships>
</file>

<file path=ppt/charts/_rels/chart98.xml.rels><?xml version="1.0" encoding="UTF-8" standalone="yes"?>
<Relationships xmlns="http://schemas.openxmlformats.org/package/2006/relationships"><Relationship Id="rId2" Type="http://schemas.openxmlformats.org/officeDocument/2006/relationships/package" Target="../embeddings/Microsoft_Excel_Worksheet97.xlsx"/><Relationship Id="rId1" Type="http://schemas.openxmlformats.org/officeDocument/2006/relationships/themeOverride" Target="../theme/themeOverride98.xml"/></Relationships>
</file>

<file path=ppt/charts/_rels/chart99.xml.rels><?xml version="1.0" encoding="UTF-8" standalone="yes"?>
<Relationships xmlns="http://schemas.openxmlformats.org/package/2006/relationships"><Relationship Id="rId2" Type="http://schemas.openxmlformats.org/officeDocument/2006/relationships/package" Target="../embeddings/Microsoft_Excel_Worksheet98.xlsx"/><Relationship Id="rId1" Type="http://schemas.openxmlformats.org/officeDocument/2006/relationships/themeOverride" Target="../theme/themeOverride9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40569090675550901</c:v>
                </c:pt>
                <c:pt idx="1">
                  <c:v>0.15010047485532954</c:v>
                </c:pt>
                <c:pt idx="2">
                  <c:v>0.1437359068231803</c:v>
                </c:pt>
                <c:pt idx="3">
                  <c:v>0.10492176412311441</c:v>
                </c:pt>
                <c:pt idx="4">
                  <c:v>3.543502191731638E-2</c:v>
                </c:pt>
                <c:pt idx="5">
                  <c:v>2.8008622506982047E-2</c:v>
                </c:pt>
                <c:pt idx="6">
                  <c:v>1.7885183893217194E-2</c:v>
                </c:pt>
                <c:pt idx="7">
                  <c:v>0.114222119125351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11</c:f>
              <c:numCache>
                <c:formatCode>General</c:formatCode>
                <c:ptCount val="10"/>
                <c:pt idx="0">
                  <c:v>-0.10854095629702509</c:v>
                </c:pt>
                <c:pt idx="1">
                  <c:v>-1.9099470598009413E-2</c:v>
                </c:pt>
                <c:pt idx="2">
                  <c:v>2.03879201323298E-2</c:v>
                </c:pt>
                <c:pt idx="3">
                  <c:v>1.4445522063787821E-2</c:v>
                </c:pt>
                <c:pt idx="4">
                  <c:v>1.3201980475789556E-2</c:v>
                </c:pt>
                <c:pt idx="5">
                  <c:v>1.7224146276154147E-2</c:v>
                </c:pt>
                <c:pt idx="6">
                  <c:v>9.1277736258934539E-3</c:v>
                </c:pt>
                <c:pt idx="7">
                  <c:v>1.1907480453437445E-2</c:v>
                </c:pt>
                <c:pt idx="8">
                  <c:v>1.0920881964568524E-2</c:v>
                </c:pt>
                <c:pt idx="9">
                  <c:v>6.8922335410673108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8</c:f>
              <c:numCache>
                <c:formatCode>General</c:formatCode>
                <c:ptCount val="7"/>
                <c:pt idx="0">
                  <c:v>-6.1254214823056596E-3</c:v>
                </c:pt>
                <c:pt idx="1">
                  <c:v>-9.8148104168321454E-3</c:v>
                </c:pt>
                <c:pt idx="2">
                  <c:v>7.541255842772307E-3</c:v>
                </c:pt>
                <c:pt idx="3">
                  <c:v>-1.0774115758855396E-2</c:v>
                </c:pt>
                <c:pt idx="4">
                  <c:v>3.8226859737547428E-3</c:v>
                </c:pt>
                <c:pt idx="5">
                  <c:v>-2.870022864424903E-3</c:v>
                </c:pt>
                <c:pt idx="6">
                  <c:v>1.8638204747059437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51414248074769675</c:v>
                </c:pt>
                <c:pt idx="1">
                  <c:v>0.30270149766918647</c:v>
                </c:pt>
                <c:pt idx="2">
                  <c:v>6.9132019561313499E-2</c:v>
                </c:pt>
                <c:pt idx="3">
                  <c:v>2.7078447437878853E-2</c:v>
                </c:pt>
                <c:pt idx="4">
                  <c:v>1.4893791661692803E-2</c:v>
                </c:pt>
                <c:pt idx="5">
                  <c:v>1.3750855203300237E-2</c:v>
                </c:pt>
                <c:pt idx="6">
                  <c:v>5.830090771893137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8</c:f>
              <c:numCache>
                <c:formatCode>General</c:formatCode>
                <c:ptCount val="7"/>
                <c:pt idx="0">
                  <c:v>1.1659940380532308E-2</c:v>
                </c:pt>
                <c:pt idx="1">
                  <c:v>-2.7158318433608719E-2</c:v>
                </c:pt>
                <c:pt idx="2">
                  <c:v>1.1139961963213596E-2</c:v>
                </c:pt>
                <c:pt idx="3">
                  <c:v>-3.9163276662699878E-3</c:v>
                </c:pt>
                <c:pt idx="4">
                  <c:v>1.7545664954961724E-6</c:v>
                </c:pt>
                <c:pt idx="5">
                  <c:v>-8.5965706342425174E-4</c:v>
                </c:pt>
                <c:pt idx="6">
                  <c:v>9.1326462530616215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51414248074769675</c:v>
                </c:pt>
                <c:pt idx="1">
                  <c:v>0.20662404498031436</c:v>
                </c:pt>
                <c:pt idx="2">
                  <c:v>9.3819878036794258E-2</c:v>
                </c:pt>
                <c:pt idx="3">
                  <c:v>6.8732210849747025E-2</c:v>
                </c:pt>
                <c:pt idx="4">
                  <c:v>2.7078447437878853E-2</c:v>
                </c:pt>
                <c:pt idx="5">
                  <c:v>1.3750855203300237E-2</c:v>
                </c:pt>
                <c:pt idx="6">
                  <c:v>7.585208274426846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8</c:f>
              <c:numCache>
                <c:formatCode>General</c:formatCode>
                <c:ptCount val="7"/>
                <c:pt idx="0">
                  <c:v>-2.5242361173256844E-2</c:v>
                </c:pt>
                <c:pt idx="1">
                  <c:v>5.6020647912680688E-3</c:v>
                </c:pt>
                <c:pt idx="2">
                  <c:v>-5.3518947498107788E-3</c:v>
                </c:pt>
                <c:pt idx="3">
                  <c:v>7.1175152736132202E-3</c:v>
                </c:pt>
                <c:pt idx="4">
                  <c:v>1.4893791661692803E-2</c:v>
                </c:pt>
                <c:pt idx="5">
                  <c:v>-6.4346638909202128E-3</c:v>
                </c:pt>
                <c:pt idx="6">
                  <c:v>1.6635186303594833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8</c:f>
              <c:numCache>
                <c:formatCode>General</c:formatCode>
                <c:ptCount val="7"/>
                <c:pt idx="0">
                  <c:v>-2.5242361173256844E-2</c:v>
                </c:pt>
                <c:pt idx="1">
                  <c:v>1.5963333923496581E-2</c:v>
                </c:pt>
                <c:pt idx="2">
                  <c:v>-1.0164397001381928E-2</c:v>
                </c:pt>
                <c:pt idx="3">
                  <c:v>-5.7517034613772527E-3</c:v>
                </c:pt>
                <c:pt idx="4">
                  <c:v>7.2139548396993082E-3</c:v>
                </c:pt>
                <c:pt idx="5">
                  <c:v>-6.4346638909202128E-3</c:v>
                </c:pt>
                <c:pt idx="6">
                  <c:v>3.173191454600748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Total Fromag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33629726605717514</c:v>
                </c:pt>
                <c:pt idx="1">
                  <c:v>0.17132212320628001</c:v>
                </c:pt>
                <c:pt idx="2">
                  <c:v>0.13278442079834468</c:v>
                </c:pt>
                <c:pt idx="3">
                  <c:v>0.12925576415038473</c:v>
                </c:pt>
                <c:pt idx="4">
                  <c:v>3.8386901852451236E-2</c:v>
                </c:pt>
                <c:pt idx="5">
                  <c:v>3.4147612009700137E-2</c:v>
                </c:pt>
                <c:pt idx="6">
                  <c:v>2.1400437666045428E-2</c:v>
                </c:pt>
                <c:pt idx="7">
                  <c:v>0.1364054742596186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Total Fromag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44255324624968673</c:v>
                </c:pt>
                <c:pt idx="1">
                  <c:v>0.18554336201775995</c:v>
                </c:pt>
                <c:pt idx="2">
                  <c:v>0.12814366711561445</c:v>
                </c:pt>
                <c:pt idx="3">
                  <c:v>7.6434699313938342E-2</c:v>
                </c:pt>
                <c:pt idx="4">
                  <c:v>4.0444648867486901E-2</c:v>
                </c:pt>
                <c:pt idx="5">
                  <c:v>3.0360321423162077E-2</c:v>
                </c:pt>
                <c:pt idx="6">
                  <c:v>1.5775308060474568E-2</c:v>
                </c:pt>
                <c:pt idx="7">
                  <c:v>1.1160457417790962E-2</c:v>
                </c:pt>
                <c:pt idx="8">
                  <c:v>6.958428953408599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5106227055976408</c:v>
                </c:pt>
                <c:pt idx="1">
                  <c:v>0.17048175556519352</c:v>
                </c:pt>
                <c:pt idx="2">
                  <c:v>0.13467894766909008</c:v>
                </c:pt>
                <c:pt idx="3">
                  <c:v>0.10621316177435423</c:v>
                </c:pt>
                <c:pt idx="4">
                  <c:v>4.033220960500284E-2</c:v>
                </c:pt>
                <c:pt idx="5">
                  <c:v>3.5878088061894284E-2</c:v>
                </c:pt>
                <c:pt idx="6">
                  <c:v>2.2484933556330394E-2</c:v>
                </c:pt>
                <c:pt idx="7">
                  <c:v>1.0432810658359121E-2</c:v>
                </c:pt>
                <c:pt idx="8">
                  <c:v>0.1284358225500114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3386530627117138</c:v>
                </c:pt>
                <c:pt idx="1">
                  <c:v>0.19357160103085916</c:v>
                </c:pt>
                <c:pt idx="2">
                  <c:v>0.1795969781598693</c:v>
                </c:pt>
                <c:pt idx="3">
                  <c:v>0.1113166380091699</c:v>
                </c:pt>
                <c:pt idx="4">
                  <c:v>4.8615187735961768E-2</c:v>
                </c:pt>
                <c:pt idx="5">
                  <c:v>2.2320406658639106E-2</c:v>
                </c:pt>
                <c:pt idx="6">
                  <c:v>2.1425777110198843E-2</c:v>
                </c:pt>
                <c:pt idx="7">
                  <c:v>8.4500348583588125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44255324624968673</c:v>
                </c:pt>
                <c:pt idx="1">
                  <c:v>0.18554336201775995</c:v>
                </c:pt>
                <c:pt idx="2">
                  <c:v>0.12814366711561445</c:v>
                </c:pt>
                <c:pt idx="3">
                  <c:v>7.6434699313938342E-2</c:v>
                </c:pt>
                <c:pt idx="4">
                  <c:v>4.0444648867486901E-2</c:v>
                </c:pt>
                <c:pt idx="5">
                  <c:v>3.0360321423162077E-2</c:v>
                </c:pt>
                <c:pt idx="6">
                  <c:v>1.5775308060474568E-2</c:v>
                </c:pt>
                <c:pt idx="7">
                  <c:v>1.1160457417790962E-2</c:v>
                </c:pt>
                <c:pt idx="8">
                  <c:v>6.9584289534085991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69333087466365151</c:v>
                </c:pt>
                <c:pt idx="1">
                  <c:v>0.20235702310098097</c:v>
                </c:pt>
                <c:pt idx="2">
                  <c:v>4.9042210667553085E-2</c:v>
                </c:pt>
                <c:pt idx="3">
                  <c:v>2.4270660710862871E-2</c:v>
                </c:pt>
                <c:pt idx="4">
                  <c:v>3.0999230856951523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69377068214919968</c:v>
                </c:pt>
                <c:pt idx="1">
                  <c:v>0.22447017612998366</c:v>
                </c:pt>
                <c:pt idx="2">
                  <c:v>7.3483636802119862E-2</c:v>
                </c:pt>
                <c:pt idx="3">
                  <c:v>8.2755049186968369E-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Ingredient A Chaud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c:v>
                </c:pt>
                <c:pt idx="1">
                  <c:v>0</c:v>
                </c:pt>
                <c:pt idx="2">
                  <c:v>0</c:v>
                </c:pt>
                <c:pt idx="3">
                  <c:v>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Ingredient A Chaud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47148417670046305</c:v>
                </c:pt>
                <c:pt idx="1">
                  <c:v>0.43515433275202892</c:v>
                </c:pt>
                <c:pt idx="2">
                  <c:v>2.1362260261146515E-2</c:v>
                </c:pt>
                <c:pt idx="3">
                  <c:v>1.5327587220883452E-2</c:v>
                </c:pt>
                <c:pt idx="4">
                  <c:v>1.1281053995854669E-2</c:v>
                </c:pt>
                <c:pt idx="5">
                  <c:v>4.5390589069623399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78299677284510616</c:v>
                </c:pt>
                <c:pt idx="1">
                  <c:v>0.10358334814043174</c:v>
                </c:pt>
                <c:pt idx="2">
                  <c:v>9.5725379179225134E-2</c:v>
                </c:pt>
                <c:pt idx="3">
                  <c:v>1.7640743555211277E-2</c:v>
                </c:pt>
                <c:pt idx="4">
                  <c:v>5.3756280025725276E-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7653687708117598</c:v>
                </c:pt>
                <c:pt idx="1">
                  <c:v>0.12583075474925509</c:v>
                </c:pt>
                <c:pt idx="2">
                  <c:v>8.6383181178948096E-2</c:v>
                </c:pt>
                <c:pt idx="3">
                  <c:v>2.241606414349526E-2</c:v>
                </c:pt>
                <c:pt idx="4">
                  <c:v>1.2291165417576981E-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8847514831215211</c:v>
                </c:pt>
                <c:pt idx="1">
                  <c:v>0.16213784063548314</c:v>
                </c:pt>
                <c:pt idx="2">
                  <c:v>0.12966800019878572</c:v>
                </c:pt>
                <c:pt idx="3">
                  <c:v>0.11270341231064868</c:v>
                </c:pt>
                <c:pt idx="4">
                  <c:v>7.0825976924268369E-2</c:v>
                </c:pt>
                <c:pt idx="5">
                  <c:v>2.045274459494004E-2</c:v>
                </c:pt>
                <c:pt idx="6">
                  <c:v>1.573687702372192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53276413439801662</c:v>
                </c:pt>
                <c:pt idx="1">
                  <c:v>0.1429643255150754</c:v>
                </c:pt>
                <c:pt idx="2">
                  <c:v>0.14290204190012662</c:v>
                </c:pt>
                <c:pt idx="3">
                  <c:v>0.14154369181989615</c:v>
                </c:pt>
                <c:pt idx="4">
                  <c:v>3.5411129751728887E-2</c:v>
                </c:pt>
                <c:pt idx="5">
                  <c:v>4.4146766151563427E-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52373347168550743</c:v>
                </c:pt>
                <c:pt idx="1">
                  <c:v>0.18613857317233173</c:v>
                </c:pt>
                <c:pt idx="2">
                  <c:v>9.9684951123247836E-2</c:v>
                </c:pt>
                <c:pt idx="3">
                  <c:v>2.4235701196868683E-2</c:v>
                </c:pt>
                <c:pt idx="4">
                  <c:v>1.6144620862610648E-2</c:v>
                </c:pt>
                <c:pt idx="5">
                  <c:v>0.1500626819594336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51414248074769675</c:v>
                </c:pt>
                <c:pt idx="1">
                  <c:v>0.30270149766918647</c:v>
                </c:pt>
                <c:pt idx="2">
                  <c:v>6.9132019561313499E-2</c:v>
                </c:pt>
                <c:pt idx="3">
                  <c:v>2.7078447437878853E-2</c:v>
                </c:pt>
                <c:pt idx="4">
                  <c:v>1.4893791661692803E-2</c:v>
                </c:pt>
                <c:pt idx="5">
                  <c:v>1.3750855203300237E-2</c:v>
                </c:pt>
                <c:pt idx="6">
                  <c:v>5.8300907718931379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10</c:f>
              <c:numCache>
                <c:formatCode>General</c:formatCode>
                <c:ptCount val="9"/>
                <c:pt idx="0">
                  <c:v>1.2797042147819293E-2</c:v>
                </c:pt>
                <c:pt idx="1">
                  <c:v>-2.017307543242336E-3</c:v>
                </c:pt>
                <c:pt idx="2">
                  <c:v>-1.4235840987178117E-2</c:v>
                </c:pt>
                <c:pt idx="3">
                  <c:v>6.3294096270705147E-4</c:v>
                </c:pt>
                <c:pt idx="4">
                  <c:v>9.8902068458949638E-4</c:v>
                </c:pt>
                <c:pt idx="5">
                  <c:v>-1.6867333573534413E-3</c:v>
                </c:pt>
                <c:pt idx="6">
                  <c:v>2.52597063261538E-3</c:v>
                </c:pt>
                <c:pt idx="7">
                  <c:v>1.9594035458313829E-3</c:v>
                </c:pt>
                <c:pt idx="8">
                  <c:v>-9.6449608578872293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Total Fromag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3629726605717514</c:v>
                </c:pt>
                <c:pt idx="1">
                  <c:v>3.9901864727342154E-2</c:v>
                </c:pt>
                <c:pt idx="2">
                  <c:v>3.9294973667401478E-2</c:v>
                </c:pt>
                <c:pt idx="3">
                  <c:v>3.7177340449542219E-2</c:v>
                </c:pt>
                <c:pt idx="4">
                  <c:v>3.6864943053391733E-2</c:v>
                </c:pt>
                <c:pt idx="5">
                  <c:v>3.5723106142633312E-2</c:v>
                </c:pt>
                <c:pt idx="6">
                  <c:v>2.8915068219525632E-2</c:v>
                </c:pt>
                <c:pt idx="7">
                  <c:v>2.5014109161964379E-2</c:v>
                </c:pt>
                <c:pt idx="8">
                  <c:v>2.3146682105111414E-2</c:v>
                </c:pt>
                <c:pt idx="9">
                  <c:v>0.3976646464159125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Total Fromag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44255324624968673</c:v>
                </c:pt>
                <c:pt idx="1">
                  <c:v>7.1221559932408862E-2</c:v>
                </c:pt>
                <c:pt idx="2">
                  <c:v>4.070629358325497E-2</c:v>
                </c:pt>
                <c:pt idx="3">
                  <c:v>3.8350201518098738E-2</c:v>
                </c:pt>
                <c:pt idx="4">
                  <c:v>2.5984560867509717E-2</c:v>
                </c:pt>
                <c:pt idx="5">
                  <c:v>2.5138107833638658E-2</c:v>
                </c:pt>
                <c:pt idx="6">
                  <c:v>1.559299170781899E-2</c:v>
                </c:pt>
                <c:pt idx="7">
                  <c:v>1.5410995005369091E-2</c:v>
                </c:pt>
                <c:pt idx="8">
                  <c:v>1.3080915853502493E-2</c:v>
                </c:pt>
                <c:pt idx="9">
                  <c:v>0.3119611274487116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5106227055976408</c:v>
                </c:pt>
                <c:pt idx="1">
                  <c:v>4.1923945256104801E-2</c:v>
                </c:pt>
                <c:pt idx="2">
                  <c:v>3.971133301253936E-2</c:v>
                </c:pt>
                <c:pt idx="3">
                  <c:v>3.9061352055212523E-2</c:v>
                </c:pt>
                <c:pt idx="4">
                  <c:v>3.8733123501889101E-2</c:v>
                </c:pt>
                <c:pt idx="5">
                  <c:v>3.7533422473750591E-2</c:v>
                </c:pt>
                <c:pt idx="6">
                  <c:v>3.0380378094993221E-2</c:v>
                </c:pt>
                <c:pt idx="7">
                  <c:v>2.6281732703530139E-2</c:v>
                </c:pt>
                <c:pt idx="8">
                  <c:v>1.9492623580296922E-2</c:v>
                </c:pt>
                <c:pt idx="9">
                  <c:v>0.3758198187619192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386530627117138</c:v>
                </c:pt>
                <c:pt idx="1">
                  <c:v>6.6711962686454018E-2</c:v>
                </c:pt>
                <c:pt idx="2">
                  <c:v>5.6780868038539302E-2</c:v>
                </c:pt>
                <c:pt idx="3">
                  <c:v>4.9568644304667293E-2</c:v>
                </c:pt>
                <c:pt idx="4">
                  <c:v>4.7503804968584987E-2</c:v>
                </c:pt>
                <c:pt idx="5">
                  <c:v>4.2760217379725837E-2</c:v>
                </c:pt>
                <c:pt idx="6">
                  <c:v>3.2536258353921307E-2</c:v>
                </c:pt>
                <c:pt idx="7">
                  <c:v>2.7294800172673491E-2</c:v>
                </c:pt>
                <c:pt idx="8">
                  <c:v>2.4384981500250473E-2</c:v>
                </c:pt>
                <c:pt idx="9">
                  <c:v>0.313805399883469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932997692570855</c:v>
                </c:pt>
                <c:pt idx="1">
                  <c:v>0.16429710758540036</c:v>
                </c:pt>
                <c:pt idx="2">
                  <c:v>0.10003110540656611</c:v>
                </c:pt>
                <c:pt idx="3">
                  <c:v>4.9042210667553085E-2</c:v>
                </c:pt>
                <c:pt idx="4">
                  <c:v>3.3917121803628318E-2</c:v>
                </c:pt>
                <c:pt idx="5">
                  <c:v>1.2450800321244605E-2</c:v>
                </c:pt>
                <c:pt idx="6">
                  <c:v>1.1819860389618268E-2</c:v>
                </c:pt>
                <c:pt idx="7">
                  <c:v>3.5142024568903814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57617584110359765</c:v>
                </c:pt>
                <c:pt idx="1">
                  <c:v>0.14372580791832781</c:v>
                </c:pt>
                <c:pt idx="2">
                  <c:v>0.11759484104560203</c:v>
                </c:pt>
                <c:pt idx="3">
                  <c:v>8.0744368211655843E-2</c:v>
                </c:pt>
                <c:pt idx="4">
                  <c:v>7.3483636802119862E-2</c:v>
                </c:pt>
                <c:pt idx="5">
                  <c:v>8.2755049186968369E-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Ingredient A Chaud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c:f>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Ingredient A Chaud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7148417670046305</c:v>
                </c:pt>
                <c:pt idx="1">
                  <c:v>0.34802117401507782</c:v>
                </c:pt>
                <c:pt idx="2">
                  <c:v>5.4439276656194656E-2</c:v>
                </c:pt>
                <c:pt idx="3">
                  <c:v>3.2693882080756444E-2</c:v>
                </c:pt>
                <c:pt idx="4">
                  <c:v>2.1356477565972556E-2</c:v>
                </c:pt>
                <c:pt idx="5">
                  <c:v>5.7826951739594654E-6</c:v>
                </c:pt>
                <c:pt idx="6">
                  <c:v>7.1999230286361515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7875153603401298</c:v>
                </c:pt>
                <c:pt idx="1">
                  <c:v>0.27578861393194892</c:v>
                </c:pt>
                <c:pt idx="2">
                  <c:v>0.22845662287914417</c:v>
                </c:pt>
                <c:pt idx="3">
                  <c:v>0.10358334814043174</c:v>
                </c:pt>
                <c:pt idx="4">
                  <c:v>9.5725379179225134E-2</c:v>
                </c:pt>
                <c:pt idx="5">
                  <c:v>1.7640743555211277E-2</c:v>
                </c:pt>
                <c:pt idx="6">
                  <c:v>5.3756280025725276E-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8979485020654278</c:v>
                </c:pt>
                <c:pt idx="1">
                  <c:v>0.24138035933222099</c:v>
                </c:pt>
                <c:pt idx="2">
                  <c:v>0.23419356127299601</c:v>
                </c:pt>
                <c:pt idx="3">
                  <c:v>0.12583075474925509</c:v>
                </c:pt>
                <c:pt idx="4">
                  <c:v>8.6383181178948096E-2</c:v>
                </c:pt>
                <c:pt idx="5">
                  <c:v>2.241606414349526E-2</c:v>
                </c:pt>
                <c:pt idx="6">
                  <c:v>1.2291165417576981E-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44255324624968673</c:v>
                </c:pt>
                <c:pt idx="1">
                  <c:v>7.1221559932408862E-2</c:v>
                </c:pt>
                <c:pt idx="2">
                  <c:v>4.070629358325497E-2</c:v>
                </c:pt>
                <c:pt idx="3">
                  <c:v>3.8350201518098738E-2</c:v>
                </c:pt>
                <c:pt idx="4">
                  <c:v>2.5984560867509717E-2</c:v>
                </c:pt>
                <c:pt idx="5">
                  <c:v>2.5138107833638658E-2</c:v>
                </c:pt>
                <c:pt idx="6">
                  <c:v>1.559299170781899E-2</c:v>
                </c:pt>
                <c:pt idx="7">
                  <c:v>1.5410995005369091E-2</c:v>
                </c:pt>
                <c:pt idx="8">
                  <c:v>1.3080915853502493E-2</c:v>
                </c:pt>
                <c:pt idx="9">
                  <c:v>0.3119611274487116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2970859348380675</c:v>
                </c:pt>
                <c:pt idx="1">
                  <c:v>0.16043379926377807</c:v>
                </c:pt>
                <c:pt idx="2">
                  <c:v>0.12966800019878572</c:v>
                </c:pt>
                <c:pt idx="3">
                  <c:v>0.10616482532513906</c:v>
                </c:pt>
                <c:pt idx="4">
                  <c:v>0.10235644019547083</c:v>
                </c:pt>
                <c:pt idx="5">
                  <c:v>7.424221878310637E-2</c:v>
                </c:pt>
                <c:pt idx="6">
                  <c:v>7.0825976924268369E-2</c:v>
                </c:pt>
                <c:pt idx="7">
                  <c:v>1.0346095515999654E-2</c:v>
                </c:pt>
                <c:pt idx="8">
                  <c:v>8.7659917819501354E-7</c:v>
                </c:pt>
                <c:pt idx="9">
                  <c:v>4.887583235620621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3495661866567283</c:v>
                </c:pt>
                <c:pt idx="1">
                  <c:v>0.14290204190012662</c:v>
                </c:pt>
                <c:pt idx="2">
                  <c:v>0.1426367440068825</c:v>
                </c:pt>
                <c:pt idx="3">
                  <c:v>0.13477890637743031</c:v>
                </c:pt>
                <c:pt idx="4">
                  <c:v>0.11501460187481841</c:v>
                </c:pt>
                <c:pt idx="5">
                  <c:v>7.2014001885060422E-2</c:v>
                </c:pt>
                <c:pt idx="6">
                  <c:v>3.5411129751728887E-2</c:v>
                </c:pt>
                <c:pt idx="7">
                  <c:v>6.7647854424658311E-3</c:v>
                </c:pt>
                <c:pt idx="8">
                  <c:v>1.552117009581419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52373347168550743</c:v>
                </c:pt>
                <c:pt idx="1">
                  <c:v>0.10852888112070069</c:v>
                </c:pt>
                <c:pt idx="2">
                  <c:v>9.3963999902131043E-2</c:v>
                </c:pt>
                <c:pt idx="3">
                  <c:v>7.4909793649522008E-2</c:v>
                </c:pt>
                <c:pt idx="4">
                  <c:v>2.4235701196868683E-2</c:v>
                </c:pt>
                <c:pt idx="5">
                  <c:v>1.6144620862610648E-2</c:v>
                </c:pt>
                <c:pt idx="6">
                  <c:v>0.1584835315826594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51414248074769675</c:v>
                </c:pt>
                <c:pt idx="1">
                  <c:v>0.20662404498031436</c:v>
                </c:pt>
                <c:pt idx="2">
                  <c:v>9.3819878036794258E-2</c:v>
                </c:pt>
                <c:pt idx="3">
                  <c:v>6.8732210849747025E-2</c:v>
                </c:pt>
                <c:pt idx="4">
                  <c:v>2.7078447437878853E-2</c:v>
                </c:pt>
                <c:pt idx="5">
                  <c:v>1.3750855203300237E-2</c:v>
                </c:pt>
                <c:pt idx="6">
                  <c:v>7.5852082744268468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39898779870200923</c:v>
                </c:pt>
                <c:pt idx="1">
                  <c:v>0.15981893290970903</c:v>
                </c:pt>
                <c:pt idx="2">
                  <c:v>0.14162485401109812</c:v>
                </c:pt>
                <c:pt idx="3">
                  <c:v>9.3961426008570575E-2</c:v>
                </c:pt>
                <c:pt idx="4">
                  <c:v>3.987814194401651E-2</c:v>
                </c:pt>
                <c:pt idx="5">
                  <c:v>3.1686296624193554E-2</c:v>
                </c:pt>
                <c:pt idx="6">
                  <c:v>2.0889051256401978E-2</c:v>
                </c:pt>
                <c:pt idx="7">
                  <c:v>0.1131534985440009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67528016868896001</c:v>
                </c:pt>
                <c:pt idx="1">
                  <c:v>0.21625759194103711</c:v>
                </c:pt>
                <c:pt idx="2">
                  <c:v>6.7566680179050848E-2</c:v>
                </c:pt>
                <c:pt idx="3">
                  <c:v>1.2148220824118447E-2</c:v>
                </c:pt>
                <c:pt idx="4">
                  <c:v>2.874733836683355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Ingredient A Chaud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47132325693032001</c:v>
                </c:pt>
                <c:pt idx="1">
                  <c:v>0.43513029091410449</c:v>
                </c:pt>
                <c:pt idx="2">
                  <c:v>2.1354970406290398E-2</c:v>
                </c:pt>
                <c:pt idx="3">
                  <c:v>1.5322460926377875E-2</c:v>
                </c:pt>
                <c:pt idx="4">
                  <c:v>1.1277870438551189E-2</c:v>
                </c:pt>
                <c:pt idx="5">
                  <c:v>4.5591150384356016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5106227055976408</c:v>
                </c:pt>
                <c:pt idx="1">
                  <c:v>0.17048175556519352</c:v>
                </c:pt>
                <c:pt idx="2">
                  <c:v>0.13467894766909008</c:v>
                </c:pt>
                <c:pt idx="3">
                  <c:v>0.10621316177435423</c:v>
                </c:pt>
                <c:pt idx="4">
                  <c:v>4.033220960500284E-2</c:v>
                </c:pt>
                <c:pt idx="5">
                  <c:v>3.5878088061894284E-2</c:v>
                </c:pt>
                <c:pt idx="6">
                  <c:v>2.2484933556330394E-2</c:v>
                </c:pt>
                <c:pt idx="7">
                  <c:v>1.0432810658359121E-2</c:v>
                </c:pt>
                <c:pt idx="8">
                  <c:v>0.1284358225500114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69333087466365151</c:v>
                </c:pt>
                <c:pt idx="1">
                  <c:v>0.20235702310098097</c:v>
                </c:pt>
                <c:pt idx="2">
                  <c:v>4.9042210667553085E-2</c:v>
                </c:pt>
                <c:pt idx="3">
                  <c:v>2.4270660710862871E-2</c:v>
                </c:pt>
                <c:pt idx="4">
                  <c:v>3.0999230856951523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Ingredient A Chaud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c:v>
                </c:pt>
                <c:pt idx="1">
                  <c:v>0</c:v>
                </c:pt>
                <c:pt idx="2">
                  <c:v>0</c:v>
                </c:pt>
                <c:pt idx="3">
                  <c:v>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10</c:f>
              <c:numCache>
                <c:formatCode>General</c:formatCode>
                <c:ptCount val="9"/>
                <c:pt idx="0">
                  <c:v>-1.2652429585081393E-2</c:v>
                </c:pt>
                <c:pt idx="1">
                  <c:v>7.6009125065545913E-4</c:v>
                </c:pt>
                <c:pt idx="2">
                  <c:v>1.0766375988954011E-2</c:v>
                </c:pt>
                <c:pt idx="3">
                  <c:v>-4.2116659624530373E-3</c:v>
                </c:pt>
                <c:pt idx="4">
                  <c:v>-3.3487291567049077E-3</c:v>
                </c:pt>
                <c:pt idx="5">
                  <c:v>-3.3217662378867349E-3</c:v>
                </c:pt>
                <c:pt idx="6">
                  <c:v>1.3537011669857192E-3</c:v>
                </c:pt>
                <c:pt idx="7">
                  <c:v>3.2412359501827349E-3</c:v>
                </c:pt>
                <c:pt idx="8">
                  <c:v>7.413186585348116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3386530627117138</c:v>
                </c:pt>
                <c:pt idx="1">
                  <c:v>0.19357160103085916</c:v>
                </c:pt>
                <c:pt idx="2">
                  <c:v>0.1795969781598693</c:v>
                </c:pt>
                <c:pt idx="3">
                  <c:v>0.1113166380091699</c:v>
                </c:pt>
                <c:pt idx="4">
                  <c:v>4.8615187735961768E-2</c:v>
                </c:pt>
                <c:pt idx="5">
                  <c:v>2.2320406658639106E-2</c:v>
                </c:pt>
                <c:pt idx="6">
                  <c:v>2.1425777110198843E-2</c:v>
                </c:pt>
                <c:pt idx="7">
                  <c:v>8.4500348583588125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69377068214919968</c:v>
                </c:pt>
                <c:pt idx="1">
                  <c:v>0.22447017612998366</c:v>
                </c:pt>
                <c:pt idx="2">
                  <c:v>7.3483636802119862E-2</c:v>
                </c:pt>
                <c:pt idx="3">
                  <c:v>8.2755049186968369E-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Ingredient A Chaud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47148417670046305</c:v>
                </c:pt>
                <c:pt idx="1">
                  <c:v>0.43515433275202892</c:v>
                </c:pt>
                <c:pt idx="2">
                  <c:v>2.1362260261146515E-2</c:v>
                </c:pt>
                <c:pt idx="3">
                  <c:v>1.5327587220883452E-2</c:v>
                </c:pt>
                <c:pt idx="4">
                  <c:v>1.1281053995854669E-2</c:v>
                </c:pt>
                <c:pt idx="5">
                  <c:v>4.5390589069623399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9898779870200923</c:v>
                </c:pt>
                <c:pt idx="1">
                  <c:v>4.5155097475704627E-2</c:v>
                </c:pt>
                <c:pt idx="2">
                  <c:v>4.4880052949062658E-2</c:v>
                </c:pt>
                <c:pt idx="3">
                  <c:v>3.9769773581328584E-2</c:v>
                </c:pt>
                <c:pt idx="4">
                  <c:v>3.7405476195536393E-2</c:v>
                </c:pt>
                <c:pt idx="5">
                  <c:v>3.6172912675697791E-2</c:v>
                </c:pt>
                <c:pt idx="6">
                  <c:v>2.7500639506900265E-2</c:v>
                </c:pt>
                <c:pt idx="7">
                  <c:v>2.2511256898348899E-2</c:v>
                </c:pt>
                <c:pt idx="8">
                  <c:v>1.6150431001123129E-2</c:v>
                </c:pt>
                <c:pt idx="9">
                  <c:v>0.331466561014288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587042502292212</c:v>
                </c:pt>
                <c:pt idx="1">
                  <c:v>0.16318977189908423</c:v>
                </c:pt>
                <c:pt idx="2">
                  <c:v>8.8237666396748043E-2</c:v>
                </c:pt>
                <c:pt idx="3">
                  <c:v>6.7566680179050848E-2</c:v>
                </c:pt>
                <c:pt idx="4">
                  <c:v>5.2000022376420457E-2</c:v>
                </c:pt>
                <c:pt idx="5">
                  <c:v>4.1963356856484405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Ingredient A Chaud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7132325693032001</c:v>
                </c:pt>
                <c:pt idx="1">
                  <c:v>0.34789812281066629</c:v>
                </c:pt>
                <c:pt idx="2">
                  <c:v>5.4471415623889616E-2</c:v>
                </c:pt>
                <c:pt idx="3">
                  <c:v>3.2760752479548592E-2</c:v>
                </c:pt>
                <c:pt idx="4">
                  <c:v>2.1349189784337294E-2</c:v>
                </c:pt>
                <c:pt idx="5">
                  <c:v>5.7806219531048886E-6</c:v>
                </c:pt>
                <c:pt idx="6">
                  <c:v>7.219148174928508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5106227055976408</c:v>
                </c:pt>
                <c:pt idx="1">
                  <c:v>4.1923945256104801E-2</c:v>
                </c:pt>
                <c:pt idx="2">
                  <c:v>3.971133301253936E-2</c:v>
                </c:pt>
                <c:pt idx="3">
                  <c:v>3.9061352055212523E-2</c:v>
                </c:pt>
                <c:pt idx="4">
                  <c:v>3.8733123501889101E-2</c:v>
                </c:pt>
                <c:pt idx="5">
                  <c:v>3.7533422473750591E-2</c:v>
                </c:pt>
                <c:pt idx="6">
                  <c:v>3.0380378094993221E-2</c:v>
                </c:pt>
                <c:pt idx="7">
                  <c:v>2.6281732703530139E-2</c:v>
                </c:pt>
                <c:pt idx="8">
                  <c:v>1.9492623580296922E-2</c:v>
                </c:pt>
                <c:pt idx="9">
                  <c:v>0.3758198187619192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932997692570855</c:v>
                </c:pt>
                <c:pt idx="1">
                  <c:v>0.16429710758540036</c:v>
                </c:pt>
                <c:pt idx="2">
                  <c:v>0.10003110540656611</c:v>
                </c:pt>
                <c:pt idx="3">
                  <c:v>4.9042210667553085E-2</c:v>
                </c:pt>
                <c:pt idx="4">
                  <c:v>3.3917121803628318E-2</c:v>
                </c:pt>
                <c:pt idx="5">
                  <c:v>1.2450800321244605E-2</c:v>
                </c:pt>
                <c:pt idx="6">
                  <c:v>1.1819860389618268E-2</c:v>
                </c:pt>
                <c:pt idx="7">
                  <c:v>3.5142024568903814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Ingredient A Chaud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c:f>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386530627117138</c:v>
                </c:pt>
                <c:pt idx="1">
                  <c:v>6.6711962686454018E-2</c:v>
                </c:pt>
                <c:pt idx="2">
                  <c:v>5.6780868038539302E-2</c:v>
                </c:pt>
                <c:pt idx="3">
                  <c:v>4.9568644304667293E-2</c:v>
                </c:pt>
                <c:pt idx="4">
                  <c:v>4.7503804968584987E-2</c:v>
                </c:pt>
                <c:pt idx="5">
                  <c:v>4.2760217379725837E-2</c:v>
                </c:pt>
                <c:pt idx="6">
                  <c:v>3.2536258353921307E-2</c:v>
                </c:pt>
                <c:pt idx="7">
                  <c:v>2.7294800172673491E-2</c:v>
                </c:pt>
                <c:pt idx="8">
                  <c:v>2.4384981500250473E-2</c:v>
                </c:pt>
                <c:pt idx="9">
                  <c:v>0.313805399883469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11</c:f>
              <c:numCache>
                <c:formatCode>General</c:formatCode>
                <c:ptCount val="10"/>
                <c:pt idx="0">
                  <c:v>-1.2652429585081393E-2</c:v>
                </c:pt>
                <c:pt idx="1">
                  <c:v>-4.1352556913929195E-3</c:v>
                </c:pt>
                <c:pt idx="2">
                  <c:v>-3.0870844409368395E-3</c:v>
                </c:pt>
                <c:pt idx="3">
                  <c:v>7.8334095072499395E-3</c:v>
                </c:pt>
                <c:pt idx="4">
                  <c:v>4.7467898994712036E-3</c:v>
                </c:pt>
                <c:pt idx="5">
                  <c:v>-3.3196322980690897E-3</c:v>
                </c:pt>
                <c:pt idx="6">
                  <c:v>1.1740186065133176E-3</c:v>
                </c:pt>
                <c:pt idx="7">
                  <c:v>-1.3808176332980419E-3</c:v>
                </c:pt>
                <c:pt idx="8">
                  <c:v>3.232679862077547E-4</c:v>
                </c:pt>
                <c:pt idx="9">
                  <c:v>1.050404033529349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57617584110359765</c:v>
                </c:pt>
                <c:pt idx="1">
                  <c:v>0.14372580791832781</c:v>
                </c:pt>
                <c:pt idx="2">
                  <c:v>0.11759484104560203</c:v>
                </c:pt>
                <c:pt idx="3">
                  <c:v>8.0744368211655843E-2</c:v>
                </c:pt>
                <c:pt idx="4">
                  <c:v>7.3483636802119862E-2</c:v>
                </c:pt>
                <c:pt idx="5">
                  <c:v>8.2755049186968369E-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Ingredient A Chaud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7148417670046305</c:v>
                </c:pt>
                <c:pt idx="1">
                  <c:v>0.34802117401507782</c:v>
                </c:pt>
                <c:pt idx="2">
                  <c:v>5.4439276656194656E-2</c:v>
                </c:pt>
                <c:pt idx="3">
                  <c:v>3.2693882080756444E-2</c:v>
                </c:pt>
                <c:pt idx="4">
                  <c:v>2.1356477565972556E-2</c:v>
                </c:pt>
                <c:pt idx="5">
                  <c:v>5.7826951739594654E-6</c:v>
                </c:pt>
                <c:pt idx="6">
                  <c:v>7.1999230286361515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72898754382501219</c:v>
                </c:pt>
                <c:pt idx="1">
                  <c:v>0.16099746565854658</c:v>
                </c:pt>
                <c:pt idx="2">
                  <c:v>8.6197900872779606E-2</c:v>
                </c:pt>
                <c:pt idx="3">
                  <c:v>1.9218482025636575E-2</c:v>
                </c:pt>
                <c:pt idx="4">
                  <c:v>4.5986076180250107E-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7811822285026373</c:v>
                </c:pt>
                <c:pt idx="1">
                  <c:v>0.19234377259598257</c:v>
                </c:pt>
                <c:pt idx="2">
                  <c:v>0.15273247479266067</c:v>
                </c:pt>
                <c:pt idx="3">
                  <c:v>0.10045654377252046</c:v>
                </c:pt>
                <c:pt idx="4">
                  <c:v>4.4267364068319326E-2</c:v>
                </c:pt>
                <c:pt idx="5">
                  <c:v>2.0008640466277573E-2</c:v>
                </c:pt>
                <c:pt idx="6">
                  <c:v>1.2072981453975652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56511946298241633</c:v>
                </c:pt>
                <c:pt idx="1">
                  <c:v>0.20190322657864404</c:v>
                </c:pt>
                <c:pt idx="2">
                  <c:v>9.1552817726695671E-2</c:v>
                </c:pt>
                <c:pt idx="3">
                  <c:v>2.1661816114543295E-2</c:v>
                </c:pt>
                <c:pt idx="4">
                  <c:v>1.04760517529091E-2</c:v>
                </c:pt>
                <c:pt idx="5">
                  <c:v>0.1092866248447915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78299677284510616</c:v>
                </c:pt>
                <c:pt idx="1">
                  <c:v>0.10358334814043174</c:v>
                </c:pt>
                <c:pt idx="2">
                  <c:v>9.5725379179225134E-2</c:v>
                </c:pt>
                <c:pt idx="3">
                  <c:v>1.7640743555211277E-2</c:v>
                </c:pt>
                <c:pt idx="4">
                  <c:v>5.3756280025725276E-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8847514831215211</c:v>
                </c:pt>
                <c:pt idx="1">
                  <c:v>0.16213784063548314</c:v>
                </c:pt>
                <c:pt idx="2">
                  <c:v>0.12966800019878572</c:v>
                </c:pt>
                <c:pt idx="3">
                  <c:v>0.11270341231064868</c:v>
                </c:pt>
                <c:pt idx="4">
                  <c:v>7.0825976924268369E-2</c:v>
                </c:pt>
                <c:pt idx="5">
                  <c:v>2.045274459494004E-2</c:v>
                </c:pt>
                <c:pt idx="6">
                  <c:v>1.573687702372192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52373347168550743</c:v>
                </c:pt>
                <c:pt idx="1">
                  <c:v>0.18613857317233173</c:v>
                </c:pt>
                <c:pt idx="2">
                  <c:v>9.9684951123247836E-2</c:v>
                </c:pt>
                <c:pt idx="3">
                  <c:v>2.4235701196868683E-2</c:v>
                </c:pt>
                <c:pt idx="4">
                  <c:v>1.6144620862610648E-2</c:v>
                </c:pt>
                <c:pt idx="5">
                  <c:v>0.1500626819594336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7653687708117598</c:v>
                </c:pt>
                <c:pt idx="1">
                  <c:v>0.12583075474925509</c:v>
                </c:pt>
                <c:pt idx="2">
                  <c:v>8.6383181178948096E-2</c:v>
                </c:pt>
                <c:pt idx="3">
                  <c:v>2.241606414349526E-2</c:v>
                </c:pt>
                <c:pt idx="4">
                  <c:v>1.2291165417576981E-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53276413439801662</c:v>
                </c:pt>
                <c:pt idx="1">
                  <c:v>0.1429643255150754</c:v>
                </c:pt>
                <c:pt idx="2">
                  <c:v>0.14290204190012662</c:v>
                </c:pt>
                <c:pt idx="3">
                  <c:v>0.14154369181989615</c:v>
                </c:pt>
                <c:pt idx="4">
                  <c:v>3.5411129751728887E-2</c:v>
                </c:pt>
                <c:pt idx="5">
                  <c:v>4.4146766151563427E-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39898779870200923</c:v>
                </c:pt>
                <c:pt idx="1">
                  <c:v>0.15981893290970903</c:v>
                </c:pt>
                <c:pt idx="2">
                  <c:v>0.14162485401109812</c:v>
                </c:pt>
                <c:pt idx="3">
                  <c:v>9.3961426008570575E-2</c:v>
                </c:pt>
                <c:pt idx="4">
                  <c:v>3.987814194401651E-2</c:v>
                </c:pt>
                <c:pt idx="5">
                  <c:v>3.1686296624193554E-2</c:v>
                </c:pt>
                <c:pt idx="6">
                  <c:v>2.0889051256401978E-2</c:v>
                </c:pt>
                <c:pt idx="7">
                  <c:v>0.1131534985440009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51414248074769675</c:v>
                </c:pt>
                <c:pt idx="1">
                  <c:v>0.30270149766918647</c:v>
                </c:pt>
                <c:pt idx="2">
                  <c:v>6.9132019561313499E-2</c:v>
                </c:pt>
                <c:pt idx="3">
                  <c:v>2.7078447437878853E-2</c:v>
                </c:pt>
                <c:pt idx="4">
                  <c:v>1.4893791661692803E-2</c:v>
                </c:pt>
                <c:pt idx="5">
                  <c:v>1.3750855203300237E-2</c:v>
                </c:pt>
                <c:pt idx="6">
                  <c:v>5.8300907718931379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6363737229116463</c:v>
                </c:pt>
                <c:pt idx="1">
                  <c:v>0.26089373181842807</c:v>
                </c:pt>
                <c:pt idx="2">
                  <c:v>0.20438609500688243</c:v>
                </c:pt>
                <c:pt idx="3">
                  <c:v>0.16099746565854658</c:v>
                </c:pt>
                <c:pt idx="4">
                  <c:v>8.6197900872779606E-2</c:v>
                </c:pt>
                <c:pt idx="5">
                  <c:v>1.920500943558822E-2</c:v>
                </c:pt>
                <c:pt idx="6">
                  <c:v>4.682424916610463E-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29611634591998715</c:v>
                </c:pt>
                <c:pt idx="1">
                  <c:v>0.19234377259598257</c:v>
                </c:pt>
                <c:pt idx="2">
                  <c:v>0.15136553389364915</c:v>
                </c:pt>
                <c:pt idx="3">
                  <c:v>0.10651841953118901</c:v>
                </c:pt>
                <c:pt idx="4">
                  <c:v>9.3255846227439834E-2</c:v>
                </c:pt>
                <c:pt idx="5">
                  <c:v>6.6299752015734015E-2</c:v>
                </c:pt>
                <c:pt idx="6">
                  <c:v>4.4267364068319326E-2</c:v>
                </c:pt>
                <c:pt idx="7">
                  <c:v>7.2005487767218442E-3</c:v>
                </c:pt>
                <c:pt idx="8">
                  <c:v>1.4876835877361912E-7</c:v>
                </c:pt>
                <c:pt idx="9">
                  <c:v>4.263226820261834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56511946298241633</c:v>
                </c:pt>
                <c:pt idx="1">
                  <c:v>0.12967410454850634</c:v>
                </c:pt>
                <c:pt idx="2">
                  <c:v>8.8913455519362028E-2</c:v>
                </c:pt>
                <c:pt idx="3">
                  <c:v>7.018882622971151E-2</c:v>
                </c:pt>
                <c:pt idx="4">
                  <c:v>2.166167400993348E-2</c:v>
                </c:pt>
                <c:pt idx="5">
                  <c:v>1.04760517529091E-2</c:v>
                </c:pt>
                <c:pt idx="6">
                  <c:v>0.1139664249571611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7875153603401298</c:v>
                </c:pt>
                <c:pt idx="1">
                  <c:v>0.27578861393194892</c:v>
                </c:pt>
                <c:pt idx="2">
                  <c:v>0.22845662287914417</c:v>
                </c:pt>
                <c:pt idx="3">
                  <c:v>0.10358334814043174</c:v>
                </c:pt>
                <c:pt idx="4">
                  <c:v>9.5725379179225134E-2</c:v>
                </c:pt>
                <c:pt idx="5">
                  <c:v>1.7640743555211277E-2</c:v>
                </c:pt>
                <c:pt idx="6">
                  <c:v>5.3756280025725276E-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2970859348380675</c:v>
                </c:pt>
                <c:pt idx="1">
                  <c:v>0.16043379926377807</c:v>
                </c:pt>
                <c:pt idx="2">
                  <c:v>0.12966800019878572</c:v>
                </c:pt>
                <c:pt idx="3">
                  <c:v>0.10616482532513906</c:v>
                </c:pt>
                <c:pt idx="4">
                  <c:v>0.10235644019547083</c:v>
                </c:pt>
                <c:pt idx="5">
                  <c:v>7.424221878310637E-2</c:v>
                </c:pt>
                <c:pt idx="6">
                  <c:v>7.0825976924268369E-2</c:v>
                </c:pt>
                <c:pt idx="7">
                  <c:v>1.0346095515999654E-2</c:v>
                </c:pt>
                <c:pt idx="8">
                  <c:v>8.7659917819501354E-7</c:v>
                </c:pt>
                <c:pt idx="9">
                  <c:v>4.887583235620621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52373347168550743</c:v>
                </c:pt>
                <c:pt idx="1">
                  <c:v>0.10852888112070069</c:v>
                </c:pt>
                <c:pt idx="2">
                  <c:v>9.3963999902131043E-2</c:v>
                </c:pt>
                <c:pt idx="3">
                  <c:v>7.4909793649522008E-2</c:v>
                </c:pt>
                <c:pt idx="4">
                  <c:v>2.4235701196868683E-2</c:v>
                </c:pt>
                <c:pt idx="5">
                  <c:v>1.6144620862610648E-2</c:v>
                </c:pt>
                <c:pt idx="6">
                  <c:v>0.1584835315826594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8979485020654278</c:v>
                </c:pt>
                <c:pt idx="1">
                  <c:v>0.24138035933222099</c:v>
                </c:pt>
                <c:pt idx="2">
                  <c:v>0.23419356127299601</c:v>
                </c:pt>
                <c:pt idx="3">
                  <c:v>0.12583075474925509</c:v>
                </c:pt>
                <c:pt idx="4">
                  <c:v>8.6383181178948096E-2</c:v>
                </c:pt>
                <c:pt idx="5">
                  <c:v>2.241606414349526E-2</c:v>
                </c:pt>
                <c:pt idx="6">
                  <c:v>1.2291165417576981E-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3495661866567283</c:v>
                </c:pt>
                <c:pt idx="1">
                  <c:v>0.14290204190012662</c:v>
                </c:pt>
                <c:pt idx="2">
                  <c:v>0.1426367440068825</c:v>
                </c:pt>
                <c:pt idx="3">
                  <c:v>0.13477890637743031</c:v>
                </c:pt>
                <c:pt idx="4">
                  <c:v>0.11501460187481841</c:v>
                </c:pt>
                <c:pt idx="5">
                  <c:v>7.2014001885060422E-2</c:v>
                </c:pt>
                <c:pt idx="6">
                  <c:v>3.5411129751728887E-2</c:v>
                </c:pt>
                <c:pt idx="7">
                  <c:v>6.7647854424658311E-3</c:v>
                </c:pt>
                <c:pt idx="8">
                  <c:v>1.552117009581419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51414248074769675</c:v>
                </c:pt>
                <c:pt idx="1">
                  <c:v>0.20662404498031436</c:v>
                </c:pt>
                <c:pt idx="2">
                  <c:v>9.3819878036794258E-2</c:v>
                </c:pt>
                <c:pt idx="3">
                  <c:v>6.8732210849747025E-2</c:v>
                </c:pt>
                <c:pt idx="4">
                  <c:v>2.7078447437878853E-2</c:v>
                </c:pt>
                <c:pt idx="5">
                  <c:v>1.3750855203300237E-2</c:v>
                </c:pt>
                <c:pt idx="6">
                  <c:v>7.5852082744268468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9</c:f>
              <c:numCache>
                <c:formatCode>General</c:formatCode>
                <c:ptCount val="8"/>
                <c:pt idx="0">
                  <c:v>1.6434191561951139E-2</c:v>
                </c:pt>
                <c:pt idx="1">
                  <c:v>-8.0946583969254415E-3</c:v>
                </c:pt>
                <c:pt idx="2">
                  <c:v>-6.3257814126071177E-3</c:v>
                </c:pt>
                <c:pt idx="3">
                  <c:v>1.7747560007268792E-3</c:v>
                </c:pt>
                <c:pt idx="4">
                  <c:v>-4.6334722138606163E-3</c:v>
                </c:pt>
                <c:pt idx="5">
                  <c:v>1.4631802206112061E-3</c:v>
                </c:pt>
                <c:pt idx="6">
                  <c:v>2.4465609738073581E-3</c:v>
                </c:pt>
                <c:pt idx="7">
                  <c:v>-3.0647767337034022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15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214-4912-957F-CB9A0E40701B}"/>
                </c:ext>
              </c:extLst>
            </c:dLbl>
            <c:dLbl>
              <c:idx val="1"/>
              <c:tx>
                <c:rich>
                  <a:bodyPr/>
                  <a:lstStyle/>
                  <a:p>
                    <a:r>
                      <a:t>13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5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214-4912-957F-CB9A0E40701B}"/>
                </c:ext>
              </c:extLst>
            </c:dLbl>
            <c:dLbl>
              <c:idx val="4"/>
              <c:tx>
                <c:rich>
                  <a:bodyPr/>
                  <a:lstStyle/>
                  <a:p>
                    <a:r>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214-4912-957F-CB9A0E40701B}"/>
                </c:ext>
              </c:extLst>
            </c:dLbl>
            <c:dLbl>
              <c:idx val="5"/>
              <c:tx>
                <c:rich>
                  <a:bodyPr/>
                  <a:lstStyle/>
                  <a:p>
                    <a:r>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r>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214-4912-957F-CB9A0E40701B}"/>
                </c:ext>
              </c:extLst>
            </c:dLbl>
            <c:dLbl>
              <c:idx val="7"/>
              <c:tx>
                <c:rich>
                  <a:bodyPr/>
                  <a:lstStyle/>
                  <a:p>
                    <a:r>
                      <a:t>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214-4912-957F-CB9A0E40701B}"/>
                </c:ext>
              </c:extLst>
            </c:dLbl>
            <c:dLbl>
              <c:idx val="8"/>
              <c:tx>
                <c:rich>
                  <a:bodyPr/>
                  <a:lstStyle/>
                  <a:p>
                    <a:r>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214-4912-957F-CB9A0E40701B}"/>
                </c:ext>
              </c:extLst>
            </c:dLbl>
            <c:dLbl>
              <c:idx val="9"/>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214-4912-957F-CB9A0E40701B}"/>
                </c:ext>
              </c:extLst>
            </c:dLbl>
            <c:dLbl>
              <c:idx val="10"/>
              <c:tx>
                <c:rich>
                  <a:bodyPr/>
                  <a:lstStyle/>
                  <a:p>
                    <a:r>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2214-4912-957F-CB9A0E40701B}"/>
                </c:ext>
              </c:extLst>
            </c:dLbl>
            <c:dLbl>
              <c:idx val="11"/>
              <c:tx>
                <c:rich>
                  <a:bodyPr/>
                  <a:lstStyle/>
                  <a:p>
                    <a:r>
                      <a:t>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2214-4912-957F-CB9A0E40701B}"/>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2214-4912-957F-CB9A0E40701B}"/>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214-4912-957F-CB9A0E40701B}"/>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oft Cheese</c:v>
                </c:pt>
                <c:pt idx="2">
                  <c:v>Rape</c:v>
                </c:pt>
                <c:pt idx="3">
                  <c:v>Aperitif</c:v>
                </c:pt>
                <c:pt idx="4">
                  <c:v>Bloc</c:v>
                </c:pt>
                <c:pt idx="5">
                  <c:v>Specialite</c:v>
                </c:pt>
                <c:pt idx="6">
                  <c:v>Tranche A Froid</c:v>
                </c:pt>
                <c:pt idx="7">
                  <c:v>Pate Persillee</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1537.9494649999999</c:v>
                </c:pt>
                <c:pt idx="1">
                  <c:v>1301.283848</c:v>
                </c:pt>
                <c:pt idx="2">
                  <c:v>59.466858999999999</c:v>
                </c:pt>
                <c:pt idx="3">
                  <c:v>54.700437999999998</c:v>
                </c:pt>
                <c:pt idx="4">
                  <c:v>40.276411000000003</c:v>
                </c:pt>
                <c:pt idx="5">
                  <c:v>27.881792999999998</c:v>
                </c:pt>
                <c:pt idx="6">
                  <c:v>19.122785</c:v>
                </c:pt>
                <c:pt idx="7">
                  <c:v>12.511972</c:v>
                </c:pt>
                <c:pt idx="8">
                  <c:v>8.1306130000000003</c:v>
                </c:pt>
                <c:pt idx="9">
                  <c:v>5.6803480000000004</c:v>
                </c:pt>
                <c:pt idx="10">
                  <c:v>5.4226080000000003</c:v>
                </c:pt>
                <c:pt idx="11">
                  <c:v>3.4348209999999999</c:v>
                </c:pt>
                <c:pt idx="12">
                  <c:v>3.0539E-2</c:v>
                </c:pt>
                <c:pt idx="13">
                  <c:v>5.8970000000000003E-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r>
                      <a:t>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6BC-4892-9D89-112E9096EE14}"/>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6BC-4892-9D89-112E9096EE14}"/>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6BC-4892-9D89-112E9096EE14}"/>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6BC-4892-9D89-112E9096EE14}"/>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6BC-4892-9D89-112E9096EE14}"/>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6BC-4892-9D89-112E9096EE14}"/>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6BC-4892-9D89-112E9096EE14}"/>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6BC-4892-9D89-112E9096EE14}"/>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6BC-4892-9D89-112E9096EE14}"/>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6BC-4892-9D89-112E9096EE14}"/>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oft Cheese</c:v>
                </c:pt>
                <c:pt idx="2">
                  <c:v>Rape</c:v>
                </c:pt>
                <c:pt idx="3">
                  <c:v>Aperitif</c:v>
                </c:pt>
                <c:pt idx="4">
                  <c:v>Bloc</c:v>
                </c:pt>
                <c:pt idx="5">
                  <c:v>Specialite</c:v>
                </c:pt>
                <c:pt idx="6">
                  <c:v>Tranche A Froid</c:v>
                </c:pt>
                <c:pt idx="7">
                  <c:v>Pate Persillee</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29.293534999999999</c:v>
                </c:pt>
                <c:pt idx="1">
                  <c:v>29.293534999999999</c:v>
                </c:pt>
                <c:pt idx="2">
                  <c:v>0</c:v>
                </c:pt>
                <c:pt idx="3">
                  <c:v>0</c:v>
                </c:pt>
                <c:pt idx="4">
                  <c:v>0</c:v>
                </c:pt>
                <c:pt idx="5">
                  <c:v>0</c:v>
                </c:pt>
                <c:pt idx="6">
                  <c:v>0</c:v>
                </c:pt>
                <c:pt idx="7">
                  <c:v>0</c:v>
                </c:pt>
                <c:pt idx="8">
                  <c:v>0</c:v>
                </c:pt>
                <c:pt idx="9">
                  <c:v>0</c:v>
                </c:pt>
                <c:pt idx="10">
                  <c:v>0</c:v>
                </c:pt>
                <c:pt idx="11">
                  <c:v>0</c:v>
                </c:pt>
                <c:pt idx="12">
                  <c:v>0</c:v>
                </c:pt>
                <c:pt idx="13">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15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737-48F4-968E-C102797C785C}"/>
                </c:ext>
              </c:extLst>
            </c:dLbl>
            <c:dLbl>
              <c:idx val="1"/>
              <c:tx>
                <c:rich>
                  <a:bodyPr/>
                  <a:lstStyle/>
                  <a:p>
                    <a:r>
                      <a:t>13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5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737-48F4-968E-C102797C785C}"/>
                </c:ext>
              </c:extLst>
            </c:dLbl>
            <c:dLbl>
              <c:idx val="4"/>
              <c:tx>
                <c:rich>
                  <a:bodyPr/>
                  <a:lstStyle/>
                  <a:p>
                    <a:r>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737-48F4-968E-C102797C785C}"/>
                </c:ext>
              </c:extLst>
            </c:dLbl>
            <c:dLbl>
              <c:idx val="5"/>
              <c:tx>
                <c:rich>
                  <a:bodyPr/>
                  <a:lstStyle/>
                  <a:p>
                    <a:r>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r>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737-48F4-968E-C102797C785C}"/>
                </c:ext>
              </c:extLst>
            </c:dLbl>
            <c:dLbl>
              <c:idx val="7"/>
              <c:tx>
                <c:rich>
                  <a:bodyPr/>
                  <a:lstStyle/>
                  <a:p>
                    <a:r>
                      <a:t>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737-48F4-968E-C102797C785C}"/>
                </c:ext>
              </c:extLst>
            </c:dLbl>
            <c:dLbl>
              <c:idx val="8"/>
              <c:tx>
                <c:rich>
                  <a:bodyPr/>
                  <a:lstStyle/>
                  <a:p>
                    <a:r>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737-48F4-968E-C102797C785C}"/>
                </c:ext>
              </c:extLst>
            </c:dLbl>
            <c:dLbl>
              <c:idx val="9"/>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737-48F4-968E-C102797C785C}"/>
                </c:ext>
              </c:extLst>
            </c:dLbl>
            <c:dLbl>
              <c:idx val="10"/>
              <c:tx>
                <c:rich>
                  <a:bodyPr/>
                  <a:lstStyle/>
                  <a:p>
                    <a:r>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737-48F4-968E-C102797C785C}"/>
                </c:ext>
              </c:extLst>
            </c:dLbl>
            <c:dLbl>
              <c:idx val="11"/>
              <c:tx>
                <c:rich>
                  <a:bodyPr/>
                  <a:lstStyle/>
                  <a:p>
                    <a:r>
                      <a:t>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737-48F4-968E-C102797C785C}"/>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737-48F4-968E-C102797C785C}"/>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737-48F4-968E-C102797C785C}"/>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oft Cheese</c:v>
                </c:pt>
                <c:pt idx="2">
                  <c:v>Rape</c:v>
                </c:pt>
                <c:pt idx="3">
                  <c:v>Aperitif</c:v>
                </c:pt>
                <c:pt idx="4">
                  <c:v>Bloc</c:v>
                </c:pt>
                <c:pt idx="5">
                  <c:v>Specialite</c:v>
                </c:pt>
                <c:pt idx="6">
                  <c:v>Tranche A Froid</c:v>
                </c:pt>
                <c:pt idx="7">
                  <c:v>Pate Persillee</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1537.9494649999999</c:v>
                </c:pt>
                <c:pt idx="1">
                  <c:v>1301.283848</c:v>
                </c:pt>
                <c:pt idx="2">
                  <c:v>59.466858999999999</c:v>
                </c:pt>
                <c:pt idx="3">
                  <c:v>54.700437999999998</c:v>
                </c:pt>
                <c:pt idx="4">
                  <c:v>40.276411000000003</c:v>
                </c:pt>
                <c:pt idx="5">
                  <c:v>27.881792999999998</c:v>
                </c:pt>
                <c:pt idx="6">
                  <c:v>19.122785</c:v>
                </c:pt>
                <c:pt idx="7">
                  <c:v>12.511972</c:v>
                </c:pt>
                <c:pt idx="8">
                  <c:v>8.1306130000000003</c:v>
                </c:pt>
                <c:pt idx="9">
                  <c:v>5.6803480000000004</c:v>
                </c:pt>
                <c:pt idx="10">
                  <c:v>5.4226080000000003</c:v>
                </c:pt>
                <c:pt idx="11">
                  <c:v>3.4348209999999999</c:v>
                </c:pt>
                <c:pt idx="12">
                  <c:v>3.0539E-2</c:v>
                </c:pt>
                <c:pt idx="13">
                  <c:v>5.8970000000000003E-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r>
                      <a:t>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42C-46FF-9027-10BDC4B4F1BF}"/>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42C-46FF-9027-10BDC4B4F1BF}"/>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42C-46FF-9027-10BDC4B4F1BF}"/>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42C-46FF-9027-10BDC4B4F1BF}"/>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42C-46FF-9027-10BDC4B4F1BF}"/>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42C-46FF-9027-10BDC4B4F1BF}"/>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42C-46FF-9027-10BDC4B4F1BF}"/>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42C-46FF-9027-10BDC4B4F1BF}"/>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42C-46FF-9027-10BDC4B4F1BF}"/>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D42C-46FF-9027-10BDC4B4F1BF}"/>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oft Cheese</c:v>
                </c:pt>
                <c:pt idx="2">
                  <c:v>Rape</c:v>
                </c:pt>
                <c:pt idx="3">
                  <c:v>Aperitif</c:v>
                </c:pt>
                <c:pt idx="4">
                  <c:v>Bloc</c:v>
                </c:pt>
                <c:pt idx="5">
                  <c:v>Specialite</c:v>
                </c:pt>
                <c:pt idx="6">
                  <c:v>Tranche A Froid</c:v>
                </c:pt>
                <c:pt idx="7">
                  <c:v>Pate Persillee</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35.786185000000003</c:v>
                </c:pt>
                <c:pt idx="1">
                  <c:v>35.786138000000001</c:v>
                </c:pt>
                <c:pt idx="2">
                  <c:v>0</c:v>
                </c:pt>
                <c:pt idx="3">
                  <c:v>0</c:v>
                </c:pt>
                <c:pt idx="4">
                  <c:v>0</c:v>
                </c:pt>
                <c:pt idx="5">
                  <c:v>0</c:v>
                </c:pt>
                <c:pt idx="6">
                  <c:v>0</c:v>
                </c:pt>
                <c:pt idx="7">
                  <c:v>0</c:v>
                </c:pt>
                <c:pt idx="8">
                  <c:v>4.6999999999999997E-5</c:v>
                </c:pt>
                <c:pt idx="9">
                  <c:v>0</c:v>
                </c:pt>
                <c:pt idx="10">
                  <c:v>0</c:v>
                </c:pt>
                <c:pt idx="11">
                  <c:v>0</c:v>
                </c:pt>
                <c:pt idx="12">
                  <c:v>0</c:v>
                </c:pt>
                <c:pt idx="13">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15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CFA-47A8-9260-C0DB57DC7274}"/>
                </c:ext>
              </c:extLst>
            </c:dLbl>
            <c:dLbl>
              <c:idx val="1"/>
              <c:tx>
                <c:rich>
                  <a:bodyPr/>
                  <a:lstStyle/>
                  <a:p>
                    <a:r>
                      <a:t>13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5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CFA-47A8-9260-C0DB57DC7274}"/>
                </c:ext>
              </c:extLst>
            </c:dLbl>
            <c:dLbl>
              <c:idx val="4"/>
              <c:tx>
                <c:rich>
                  <a:bodyPr/>
                  <a:lstStyle/>
                  <a:p>
                    <a:r>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CFA-47A8-9260-C0DB57DC7274}"/>
                </c:ext>
              </c:extLst>
            </c:dLbl>
            <c:dLbl>
              <c:idx val="5"/>
              <c:tx>
                <c:rich>
                  <a:bodyPr/>
                  <a:lstStyle/>
                  <a:p>
                    <a:r>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r>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CFA-47A8-9260-C0DB57DC7274}"/>
                </c:ext>
              </c:extLst>
            </c:dLbl>
            <c:dLbl>
              <c:idx val="7"/>
              <c:tx>
                <c:rich>
                  <a:bodyPr/>
                  <a:lstStyle/>
                  <a:p>
                    <a:r>
                      <a:t>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CFA-47A8-9260-C0DB57DC7274}"/>
                </c:ext>
              </c:extLst>
            </c:dLbl>
            <c:dLbl>
              <c:idx val="8"/>
              <c:tx>
                <c:rich>
                  <a:bodyPr/>
                  <a:lstStyle/>
                  <a:p>
                    <a:r>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CFA-47A8-9260-C0DB57DC7274}"/>
                </c:ext>
              </c:extLst>
            </c:dLbl>
            <c:dLbl>
              <c:idx val="9"/>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CFA-47A8-9260-C0DB57DC7274}"/>
                </c:ext>
              </c:extLst>
            </c:dLbl>
            <c:dLbl>
              <c:idx val="10"/>
              <c:tx>
                <c:rich>
                  <a:bodyPr/>
                  <a:lstStyle/>
                  <a:p>
                    <a:r>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CFA-47A8-9260-C0DB57DC7274}"/>
                </c:ext>
              </c:extLst>
            </c:dLbl>
            <c:dLbl>
              <c:idx val="11"/>
              <c:tx>
                <c:rich>
                  <a:bodyPr/>
                  <a:lstStyle/>
                  <a:p>
                    <a:r>
                      <a:t>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CFA-47A8-9260-C0DB57DC7274}"/>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CFA-47A8-9260-C0DB57DC7274}"/>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CFA-47A8-9260-C0DB57DC7274}"/>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oft Cheese</c:v>
                </c:pt>
                <c:pt idx="2">
                  <c:v>Rape</c:v>
                </c:pt>
                <c:pt idx="3">
                  <c:v>Aperitif</c:v>
                </c:pt>
                <c:pt idx="4">
                  <c:v>Bloc</c:v>
                </c:pt>
                <c:pt idx="5">
                  <c:v>Specialite</c:v>
                </c:pt>
                <c:pt idx="6">
                  <c:v>Tranche A Froid</c:v>
                </c:pt>
                <c:pt idx="7">
                  <c:v>Pate Persillee</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1537.9494649999999</c:v>
                </c:pt>
                <c:pt idx="1">
                  <c:v>1301.283848</c:v>
                </c:pt>
                <c:pt idx="2">
                  <c:v>59.466858999999999</c:v>
                </c:pt>
                <c:pt idx="3">
                  <c:v>54.700437999999998</c:v>
                </c:pt>
                <c:pt idx="4">
                  <c:v>40.276411000000003</c:v>
                </c:pt>
                <c:pt idx="5">
                  <c:v>27.881792999999998</c:v>
                </c:pt>
                <c:pt idx="6">
                  <c:v>19.122785</c:v>
                </c:pt>
                <c:pt idx="7">
                  <c:v>12.511972</c:v>
                </c:pt>
                <c:pt idx="8">
                  <c:v>8.1306130000000003</c:v>
                </c:pt>
                <c:pt idx="9">
                  <c:v>5.6803480000000004</c:v>
                </c:pt>
                <c:pt idx="10">
                  <c:v>5.4226080000000003</c:v>
                </c:pt>
                <c:pt idx="11">
                  <c:v>3.4348209999999999</c:v>
                </c:pt>
                <c:pt idx="12">
                  <c:v>3.0539E-2</c:v>
                </c:pt>
                <c:pt idx="13">
                  <c:v>5.8970000000000003E-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2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r>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r>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370-4E55-8C0B-15F0266C8526}"/>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370-4E55-8C0B-15F0266C8526}"/>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370-4E55-8C0B-15F0266C8526}"/>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370-4E55-8C0B-15F0266C8526}"/>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370-4E55-8C0B-15F0266C8526}"/>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370-4E55-8C0B-15F0266C8526}"/>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370-4E55-8C0B-15F0266C8526}"/>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370-4E55-8C0B-15F0266C8526}"/>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370-4E55-8C0B-15F0266C8526}"/>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370-4E55-8C0B-15F0266C8526}"/>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oft Cheese</c:v>
                </c:pt>
                <c:pt idx="2">
                  <c:v>Rape</c:v>
                </c:pt>
                <c:pt idx="3">
                  <c:v>Aperitif</c:v>
                </c:pt>
                <c:pt idx="4">
                  <c:v>Bloc</c:v>
                </c:pt>
                <c:pt idx="5">
                  <c:v>Specialite</c:v>
                </c:pt>
                <c:pt idx="6">
                  <c:v>Tranche A Froid</c:v>
                </c:pt>
                <c:pt idx="7">
                  <c:v>Pate Persillee</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26.066303000000001</c:v>
                </c:pt>
                <c:pt idx="1">
                  <c:v>21.016295</c:v>
                </c:pt>
                <c:pt idx="2">
                  <c:v>0</c:v>
                </c:pt>
                <c:pt idx="3">
                  <c:v>4.8266390000000001</c:v>
                </c:pt>
                <c:pt idx="4">
                  <c:v>0</c:v>
                </c:pt>
                <c:pt idx="5">
                  <c:v>0</c:v>
                </c:pt>
                <c:pt idx="6">
                  <c:v>0</c:v>
                </c:pt>
                <c:pt idx="7">
                  <c:v>0</c:v>
                </c:pt>
                <c:pt idx="8">
                  <c:v>0.17358199999999999</c:v>
                </c:pt>
                <c:pt idx="9">
                  <c:v>0</c:v>
                </c:pt>
                <c:pt idx="10">
                  <c:v>0</c:v>
                </c:pt>
                <c:pt idx="11">
                  <c:v>4.9786999999999998E-2</c:v>
                </c:pt>
                <c:pt idx="12">
                  <c:v>0</c:v>
                </c:pt>
                <c:pt idx="13">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15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52C-4CA1-9C77-8D8BF7EE5797}"/>
                </c:ext>
              </c:extLst>
            </c:dLbl>
            <c:dLbl>
              <c:idx val="1"/>
              <c:tx>
                <c:rich>
                  <a:bodyPr/>
                  <a:lstStyle/>
                  <a:p>
                    <a:r>
                      <a:t>13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5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52C-4CA1-9C77-8D8BF7EE5797}"/>
                </c:ext>
              </c:extLst>
            </c:dLbl>
            <c:dLbl>
              <c:idx val="4"/>
              <c:tx>
                <c:rich>
                  <a:bodyPr/>
                  <a:lstStyle/>
                  <a:p>
                    <a:r>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52C-4CA1-9C77-8D8BF7EE5797}"/>
                </c:ext>
              </c:extLst>
            </c:dLbl>
            <c:dLbl>
              <c:idx val="5"/>
              <c:tx>
                <c:rich>
                  <a:bodyPr/>
                  <a:lstStyle/>
                  <a:p>
                    <a:r>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r>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52C-4CA1-9C77-8D8BF7EE5797}"/>
                </c:ext>
              </c:extLst>
            </c:dLbl>
            <c:dLbl>
              <c:idx val="7"/>
              <c:tx>
                <c:rich>
                  <a:bodyPr/>
                  <a:lstStyle/>
                  <a:p>
                    <a:r>
                      <a:t>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52C-4CA1-9C77-8D8BF7EE5797}"/>
                </c:ext>
              </c:extLst>
            </c:dLbl>
            <c:dLbl>
              <c:idx val="8"/>
              <c:tx>
                <c:rich>
                  <a:bodyPr/>
                  <a:lstStyle/>
                  <a:p>
                    <a:r>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52C-4CA1-9C77-8D8BF7EE5797}"/>
                </c:ext>
              </c:extLst>
            </c:dLbl>
            <c:dLbl>
              <c:idx val="9"/>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52C-4CA1-9C77-8D8BF7EE5797}"/>
                </c:ext>
              </c:extLst>
            </c:dLbl>
            <c:dLbl>
              <c:idx val="10"/>
              <c:tx>
                <c:rich>
                  <a:bodyPr/>
                  <a:lstStyle/>
                  <a:p>
                    <a:r>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752C-4CA1-9C77-8D8BF7EE5797}"/>
                </c:ext>
              </c:extLst>
            </c:dLbl>
            <c:dLbl>
              <c:idx val="11"/>
              <c:tx>
                <c:rich>
                  <a:bodyPr/>
                  <a:lstStyle/>
                  <a:p>
                    <a:r>
                      <a:t>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52C-4CA1-9C77-8D8BF7EE5797}"/>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752C-4CA1-9C77-8D8BF7EE5797}"/>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752C-4CA1-9C77-8D8BF7EE5797}"/>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oft Cheese</c:v>
                </c:pt>
                <c:pt idx="2">
                  <c:v>Rape</c:v>
                </c:pt>
                <c:pt idx="3">
                  <c:v>Aperitif</c:v>
                </c:pt>
                <c:pt idx="4">
                  <c:v>Bloc</c:v>
                </c:pt>
                <c:pt idx="5">
                  <c:v>Specialite</c:v>
                </c:pt>
                <c:pt idx="6">
                  <c:v>Tranche A Froid</c:v>
                </c:pt>
                <c:pt idx="7">
                  <c:v>Pate Persillee</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1537.9494649999999</c:v>
                </c:pt>
                <c:pt idx="1">
                  <c:v>1301.283848</c:v>
                </c:pt>
                <c:pt idx="2">
                  <c:v>59.466858999999999</c:v>
                </c:pt>
                <c:pt idx="3">
                  <c:v>54.700437999999998</c:v>
                </c:pt>
                <c:pt idx="4">
                  <c:v>40.276411000000003</c:v>
                </c:pt>
                <c:pt idx="5">
                  <c:v>27.881792999999998</c:v>
                </c:pt>
                <c:pt idx="6">
                  <c:v>19.122785</c:v>
                </c:pt>
                <c:pt idx="7">
                  <c:v>12.511972</c:v>
                </c:pt>
                <c:pt idx="8">
                  <c:v>8.1306130000000003</c:v>
                </c:pt>
                <c:pt idx="9">
                  <c:v>5.6803480000000004</c:v>
                </c:pt>
                <c:pt idx="10">
                  <c:v>5.4226080000000003</c:v>
                </c:pt>
                <c:pt idx="11">
                  <c:v>3.4348209999999999</c:v>
                </c:pt>
                <c:pt idx="12">
                  <c:v>3.0539E-2</c:v>
                </c:pt>
                <c:pt idx="13">
                  <c:v>5.8970000000000003E-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16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r>
                      <a:t>1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r>
                      <a:t>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DCC-479C-9896-B838D94821D2}"/>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DCC-479C-9896-B838D94821D2}"/>
                </c:ext>
              </c:extLst>
            </c:dLbl>
            <c:dLbl>
              <c:idx val="5"/>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DCC-479C-9896-B838D94821D2}"/>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DCC-479C-9896-B838D94821D2}"/>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DCC-479C-9896-B838D94821D2}"/>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DCC-479C-9896-B838D94821D2}"/>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DCC-479C-9896-B838D94821D2}"/>
                </c:ext>
              </c:extLst>
            </c:dLbl>
            <c:dLbl>
              <c:idx val="11"/>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DCC-479C-9896-B838D94821D2}"/>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DCC-479C-9896-B838D94821D2}"/>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DCC-479C-9896-B838D94821D2}"/>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oft Cheese</c:v>
                </c:pt>
                <c:pt idx="2">
                  <c:v>Rape</c:v>
                </c:pt>
                <c:pt idx="3">
                  <c:v>Aperitif</c:v>
                </c:pt>
                <c:pt idx="4">
                  <c:v>Bloc</c:v>
                </c:pt>
                <c:pt idx="5">
                  <c:v>Specialite</c:v>
                </c:pt>
                <c:pt idx="6">
                  <c:v>Tranche A Froid</c:v>
                </c:pt>
                <c:pt idx="7">
                  <c:v>Pate Persillee</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161.36437100000001</c:v>
                </c:pt>
                <c:pt idx="1">
                  <c:v>122.27048600000001</c:v>
                </c:pt>
                <c:pt idx="2">
                  <c:v>0</c:v>
                </c:pt>
                <c:pt idx="3">
                  <c:v>36.938121000000002</c:v>
                </c:pt>
                <c:pt idx="4">
                  <c:v>1.768E-3</c:v>
                </c:pt>
                <c:pt idx="5">
                  <c:v>1.12608</c:v>
                </c:pt>
                <c:pt idx="6">
                  <c:v>2.4510000000000001E-3</c:v>
                </c:pt>
                <c:pt idx="7">
                  <c:v>0</c:v>
                </c:pt>
                <c:pt idx="8">
                  <c:v>0.17362900000000001</c:v>
                </c:pt>
                <c:pt idx="9">
                  <c:v>0</c:v>
                </c:pt>
                <c:pt idx="10">
                  <c:v>0</c:v>
                </c:pt>
                <c:pt idx="11">
                  <c:v>0.85183600000000004</c:v>
                </c:pt>
                <c:pt idx="12">
                  <c:v>0</c:v>
                </c:pt>
                <c:pt idx="13">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2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585-4273-9A77-B0C3CA75E62D}"/>
                </c:ext>
              </c:extLst>
            </c:dLbl>
            <c:dLbl>
              <c:idx val="1"/>
              <c:tx>
                <c:rich>
                  <a:bodyPr/>
                  <a:lstStyle/>
                  <a:p>
                    <a:r>
                      <a:t>2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585-4273-9A77-B0C3CA75E62D}"/>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585-4273-9A77-B0C3CA75E62D}"/>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585-4273-9A77-B0C3CA75E62D}"/>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585-4273-9A77-B0C3CA75E62D}"/>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585-4273-9A77-B0C3CA75E62D}"/>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585-4273-9A77-B0C3CA75E62D}"/>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7585-4273-9A77-B0C3CA75E62D}"/>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585-4273-9A77-B0C3CA75E62D}"/>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3</c:f>
              <c:strCache>
                <c:ptCount val="12"/>
                <c:pt idx="0">
                  <c:v>Grand</c:v>
                </c:pt>
                <c:pt idx="1">
                  <c:v>Soft Cheese</c:v>
                </c:pt>
                <c:pt idx="2">
                  <c:v>Aperitif</c:v>
                </c:pt>
                <c:pt idx="3">
                  <c:v>Alternative Vegetale</c:v>
                </c:pt>
                <c:pt idx="4">
                  <c:v>Tranche A Froid</c:v>
                </c:pt>
                <c:pt idx="5">
                  <c:v>Bloc</c:v>
                </c:pt>
                <c:pt idx="6">
                  <c:v>Dessert</c:v>
                </c:pt>
                <c:pt idx="7">
                  <c:v>Specialite</c:v>
                </c:pt>
                <c:pt idx="8">
                  <c:v>Rape</c:v>
                </c:pt>
                <c:pt idx="9">
                  <c:v>Plat Chaud</c:v>
                </c:pt>
                <c:pt idx="10">
                  <c:v>Pate Persillee</c:v>
                </c:pt>
                <c:pt idx="11">
                  <c:v>Ingredient A Chaud</c:v>
                </c:pt>
              </c:strCache>
            </c:strRef>
          </c:cat>
          <c:val>
            <c:numRef>
              <c:f>Sheet1!$B$2:$B$13</c:f>
              <c:numCache>
                <c:formatCode>General</c:formatCode>
                <c:ptCount val="12"/>
                <c:pt idx="0">
                  <c:v>233.13574600000001</c:v>
                </c:pt>
                <c:pt idx="1">
                  <c:v>221.89111600000001</c:v>
                </c:pt>
                <c:pt idx="2">
                  <c:v>10.303675</c:v>
                </c:pt>
                <c:pt idx="3">
                  <c:v>0.94095499999999999</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4D5-42A6-95EA-868C6F347D12}"/>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4D5-42A6-95EA-868C6F347D12}"/>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4D5-42A6-95EA-868C6F347D12}"/>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4D5-42A6-95EA-868C6F347D12}"/>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44D5-42A6-95EA-868C6F347D12}"/>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4D5-42A6-95EA-868C6F347D12}"/>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44D5-42A6-95EA-868C6F347D12}"/>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44D5-42A6-95EA-868C6F347D12}"/>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3</c:f>
              <c:strCache>
                <c:ptCount val="12"/>
                <c:pt idx="0">
                  <c:v>Grand</c:v>
                </c:pt>
                <c:pt idx="1">
                  <c:v>Soft Cheese</c:v>
                </c:pt>
                <c:pt idx="2">
                  <c:v>Aperitif</c:v>
                </c:pt>
                <c:pt idx="3">
                  <c:v>Alternative Vegetale</c:v>
                </c:pt>
                <c:pt idx="4">
                  <c:v>Tranche A Froid</c:v>
                </c:pt>
                <c:pt idx="5">
                  <c:v>Bloc</c:v>
                </c:pt>
                <c:pt idx="6">
                  <c:v>Dessert</c:v>
                </c:pt>
                <c:pt idx="7">
                  <c:v>Specialite</c:v>
                </c:pt>
                <c:pt idx="8">
                  <c:v>Rape</c:v>
                </c:pt>
                <c:pt idx="9">
                  <c:v>Plat Chaud</c:v>
                </c:pt>
                <c:pt idx="10">
                  <c:v>Pate Persillee</c:v>
                </c:pt>
                <c:pt idx="11">
                  <c:v>Ingredient A Chaud</c:v>
                </c:pt>
              </c:strCache>
            </c:strRef>
          </c:cat>
          <c:val>
            <c:numRef>
              <c:f>Sheet1!$B$2:$B$13</c:f>
              <c:numCache>
                <c:formatCode>General</c:formatCode>
                <c:ptCount val="12"/>
                <c:pt idx="0">
                  <c:v>5.831683</c:v>
                </c:pt>
                <c:pt idx="1">
                  <c:v>5.831683</c:v>
                </c:pt>
                <c:pt idx="2">
                  <c:v>0</c:v>
                </c:pt>
                <c:pt idx="3">
                  <c:v>0</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9898779870200923</c:v>
                </c:pt>
                <c:pt idx="1">
                  <c:v>4.5155097475704627E-2</c:v>
                </c:pt>
                <c:pt idx="2">
                  <c:v>4.4880052949062658E-2</c:v>
                </c:pt>
                <c:pt idx="3">
                  <c:v>3.9769773581328584E-2</c:v>
                </c:pt>
                <c:pt idx="4">
                  <c:v>3.7405476195536393E-2</c:v>
                </c:pt>
                <c:pt idx="5">
                  <c:v>3.6172912675697791E-2</c:v>
                </c:pt>
                <c:pt idx="6">
                  <c:v>2.7500639506900265E-2</c:v>
                </c:pt>
                <c:pt idx="7">
                  <c:v>2.2511256898348899E-2</c:v>
                </c:pt>
                <c:pt idx="8">
                  <c:v>1.6150431001123129E-2</c:v>
                </c:pt>
                <c:pt idx="9">
                  <c:v>0.331466561014288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2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A44-46ED-89D4-8F89BB140DF8}"/>
                </c:ext>
              </c:extLst>
            </c:dLbl>
            <c:dLbl>
              <c:idx val="1"/>
              <c:tx>
                <c:rich>
                  <a:bodyPr/>
                  <a:lstStyle/>
                  <a:p>
                    <a:r>
                      <a:t>2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CA44-46ED-89D4-8F89BB140DF8}"/>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A44-46ED-89D4-8F89BB140DF8}"/>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CA44-46ED-89D4-8F89BB140DF8}"/>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CA44-46ED-89D4-8F89BB140DF8}"/>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CA44-46ED-89D4-8F89BB140DF8}"/>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CA44-46ED-89D4-8F89BB140DF8}"/>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CA44-46ED-89D4-8F89BB140DF8}"/>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CA44-46ED-89D4-8F89BB140DF8}"/>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3</c:f>
              <c:strCache>
                <c:ptCount val="12"/>
                <c:pt idx="0">
                  <c:v>Grand</c:v>
                </c:pt>
                <c:pt idx="1">
                  <c:v>Soft Cheese</c:v>
                </c:pt>
                <c:pt idx="2">
                  <c:v>Aperitif</c:v>
                </c:pt>
                <c:pt idx="3">
                  <c:v>Alternative Vegetale</c:v>
                </c:pt>
                <c:pt idx="4">
                  <c:v>Tranche A Froid</c:v>
                </c:pt>
                <c:pt idx="5">
                  <c:v>Bloc</c:v>
                </c:pt>
                <c:pt idx="6">
                  <c:v>Dessert</c:v>
                </c:pt>
                <c:pt idx="7">
                  <c:v>Specialite</c:v>
                </c:pt>
                <c:pt idx="8">
                  <c:v>Rape</c:v>
                </c:pt>
                <c:pt idx="9">
                  <c:v>Plat Chaud</c:v>
                </c:pt>
                <c:pt idx="10">
                  <c:v>Pate Persillee</c:v>
                </c:pt>
                <c:pt idx="11">
                  <c:v>Ingredient A Chaud</c:v>
                </c:pt>
              </c:strCache>
            </c:strRef>
          </c:cat>
          <c:val>
            <c:numRef>
              <c:f>Sheet1!$B$2:$B$13</c:f>
              <c:numCache>
                <c:formatCode>General</c:formatCode>
                <c:ptCount val="12"/>
                <c:pt idx="0">
                  <c:v>233.13574600000001</c:v>
                </c:pt>
                <c:pt idx="1">
                  <c:v>221.89111600000001</c:v>
                </c:pt>
                <c:pt idx="2">
                  <c:v>10.303675</c:v>
                </c:pt>
                <c:pt idx="3">
                  <c:v>0.94095499999999999</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r>
                      <a:t>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4E6-4ED9-8475-E4611060E7A6}"/>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4E6-4ED9-8475-E4611060E7A6}"/>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4E6-4ED9-8475-E4611060E7A6}"/>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4E6-4ED9-8475-E4611060E7A6}"/>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4E6-4ED9-8475-E4611060E7A6}"/>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4E6-4ED9-8475-E4611060E7A6}"/>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4E6-4ED9-8475-E4611060E7A6}"/>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4E6-4ED9-8475-E4611060E7A6}"/>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3</c:f>
              <c:strCache>
                <c:ptCount val="12"/>
                <c:pt idx="0">
                  <c:v>Grand</c:v>
                </c:pt>
                <c:pt idx="1">
                  <c:v>Soft Cheese</c:v>
                </c:pt>
                <c:pt idx="2">
                  <c:v>Aperitif</c:v>
                </c:pt>
                <c:pt idx="3">
                  <c:v>Alternative Vegetale</c:v>
                </c:pt>
                <c:pt idx="4">
                  <c:v>Tranche A Froid</c:v>
                </c:pt>
                <c:pt idx="5">
                  <c:v>Bloc</c:v>
                </c:pt>
                <c:pt idx="6">
                  <c:v>Dessert</c:v>
                </c:pt>
                <c:pt idx="7">
                  <c:v>Specialite</c:v>
                </c:pt>
                <c:pt idx="8">
                  <c:v>Rape</c:v>
                </c:pt>
                <c:pt idx="9">
                  <c:v>Plat Chaud</c:v>
                </c:pt>
                <c:pt idx="10">
                  <c:v>Pate Persillee</c:v>
                </c:pt>
                <c:pt idx="11">
                  <c:v>Ingredient A Chaud</c:v>
                </c:pt>
              </c:strCache>
            </c:strRef>
          </c:cat>
          <c:val>
            <c:numRef>
              <c:f>Sheet1!$B$2:$B$13</c:f>
              <c:numCache>
                <c:formatCode>General</c:formatCode>
                <c:ptCount val="12"/>
                <c:pt idx="0">
                  <c:v>6.741136</c:v>
                </c:pt>
                <c:pt idx="1">
                  <c:v>6.741136</c:v>
                </c:pt>
                <c:pt idx="2">
                  <c:v>0</c:v>
                </c:pt>
                <c:pt idx="3">
                  <c:v>0</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2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68C-4CF1-B886-5E8F0F875C73}"/>
                </c:ext>
              </c:extLst>
            </c:dLbl>
            <c:dLbl>
              <c:idx val="1"/>
              <c:tx>
                <c:rich>
                  <a:bodyPr/>
                  <a:lstStyle/>
                  <a:p>
                    <a:r>
                      <a:t>2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68C-4CF1-B886-5E8F0F875C73}"/>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68C-4CF1-B886-5E8F0F875C73}"/>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68C-4CF1-B886-5E8F0F875C73}"/>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68C-4CF1-B886-5E8F0F875C73}"/>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68C-4CF1-B886-5E8F0F875C73}"/>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68C-4CF1-B886-5E8F0F875C73}"/>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68C-4CF1-B886-5E8F0F875C73}"/>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68C-4CF1-B886-5E8F0F875C73}"/>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3</c:f>
              <c:strCache>
                <c:ptCount val="12"/>
                <c:pt idx="0">
                  <c:v>Grand</c:v>
                </c:pt>
                <c:pt idx="1">
                  <c:v>Soft Cheese</c:v>
                </c:pt>
                <c:pt idx="2">
                  <c:v>Aperitif</c:v>
                </c:pt>
                <c:pt idx="3">
                  <c:v>Alternative Vegetale</c:v>
                </c:pt>
                <c:pt idx="4">
                  <c:v>Tranche A Froid</c:v>
                </c:pt>
                <c:pt idx="5">
                  <c:v>Bloc</c:v>
                </c:pt>
                <c:pt idx="6">
                  <c:v>Dessert</c:v>
                </c:pt>
                <c:pt idx="7">
                  <c:v>Specialite</c:v>
                </c:pt>
                <c:pt idx="8">
                  <c:v>Rape</c:v>
                </c:pt>
                <c:pt idx="9">
                  <c:v>Plat Chaud</c:v>
                </c:pt>
                <c:pt idx="10">
                  <c:v>Pate Persillee</c:v>
                </c:pt>
                <c:pt idx="11">
                  <c:v>Ingredient A Chaud</c:v>
                </c:pt>
              </c:strCache>
            </c:strRef>
          </c:cat>
          <c:val>
            <c:numRef>
              <c:f>Sheet1!$B$2:$B$13</c:f>
              <c:numCache>
                <c:formatCode>General</c:formatCode>
                <c:ptCount val="12"/>
                <c:pt idx="0">
                  <c:v>233.13574600000001</c:v>
                </c:pt>
                <c:pt idx="1">
                  <c:v>221.89111600000001</c:v>
                </c:pt>
                <c:pt idx="2">
                  <c:v>10.303675</c:v>
                </c:pt>
                <c:pt idx="3">
                  <c:v>0.94095499999999999</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r>
                      <a:t>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8C9-4432-8F8D-A89B80CD2232}"/>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8C9-4432-8F8D-A89B80CD2232}"/>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8C9-4432-8F8D-A89B80CD2232}"/>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8C9-4432-8F8D-A89B80CD2232}"/>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8C9-4432-8F8D-A89B80CD2232}"/>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8C9-4432-8F8D-A89B80CD2232}"/>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88C9-4432-8F8D-A89B80CD2232}"/>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8C9-4432-8F8D-A89B80CD2232}"/>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3</c:f>
              <c:strCache>
                <c:ptCount val="12"/>
                <c:pt idx="0">
                  <c:v>Grand</c:v>
                </c:pt>
                <c:pt idx="1">
                  <c:v>Soft Cheese</c:v>
                </c:pt>
                <c:pt idx="2">
                  <c:v>Aperitif</c:v>
                </c:pt>
                <c:pt idx="3">
                  <c:v>Alternative Vegetale</c:v>
                </c:pt>
                <c:pt idx="4">
                  <c:v>Tranche A Froid</c:v>
                </c:pt>
                <c:pt idx="5">
                  <c:v>Bloc</c:v>
                </c:pt>
                <c:pt idx="6">
                  <c:v>Dessert</c:v>
                </c:pt>
                <c:pt idx="7">
                  <c:v>Specialite</c:v>
                </c:pt>
                <c:pt idx="8">
                  <c:v>Rape</c:v>
                </c:pt>
                <c:pt idx="9">
                  <c:v>Plat Chaud</c:v>
                </c:pt>
                <c:pt idx="10">
                  <c:v>Pate Persillee</c:v>
                </c:pt>
                <c:pt idx="11">
                  <c:v>Ingredient A Chaud</c:v>
                </c:pt>
              </c:strCache>
            </c:strRef>
          </c:cat>
          <c:val>
            <c:numRef>
              <c:f>Sheet1!$B$2:$B$13</c:f>
              <c:numCache>
                <c:formatCode>General</c:formatCode>
                <c:ptCount val="12"/>
                <c:pt idx="0">
                  <c:v>5.3963190000000001</c:v>
                </c:pt>
                <c:pt idx="1">
                  <c:v>4.32524</c:v>
                </c:pt>
                <c:pt idx="2">
                  <c:v>1.030688</c:v>
                </c:pt>
                <c:pt idx="3">
                  <c:v>4.0391000000000003E-2</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2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FFF-4987-A7B8-28270E388F5A}"/>
                </c:ext>
              </c:extLst>
            </c:dLbl>
            <c:dLbl>
              <c:idx val="1"/>
              <c:tx>
                <c:rich>
                  <a:bodyPr/>
                  <a:lstStyle/>
                  <a:p>
                    <a:r>
                      <a:t>2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FFF-4987-A7B8-28270E388F5A}"/>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FFF-4987-A7B8-28270E388F5A}"/>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FFF-4987-A7B8-28270E388F5A}"/>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FFF-4987-A7B8-28270E388F5A}"/>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FFF-4987-A7B8-28270E388F5A}"/>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FFF-4987-A7B8-28270E388F5A}"/>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FFF-4987-A7B8-28270E388F5A}"/>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FFF-4987-A7B8-28270E388F5A}"/>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3</c:f>
              <c:strCache>
                <c:ptCount val="12"/>
                <c:pt idx="0">
                  <c:v>Grand</c:v>
                </c:pt>
                <c:pt idx="1">
                  <c:v>Soft Cheese</c:v>
                </c:pt>
                <c:pt idx="2">
                  <c:v>Aperitif</c:v>
                </c:pt>
                <c:pt idx="3">
                  <c:v>Alternative Vegetale</c:v>
                </c:pt>
                <c:pt idx="4">
                  <c:v>Tranche A Froid</c:v>
                </c:pt>
                <c:pt idx="5">
                  <c:v>Bloc</c:v>
                </c:pt>
                <c:pt idx="6">
                  <c:v>Dessert</c:v>
                </c:pt>
                <c:pt idx="7">
                  <c:v>Specialite</c:v>
                </c:pt>
                <c:pt idx="8">
                  <c:v>Rape</c:v>
                </c:pt>
                <c:pt idx="9">
                  <c:v>Plat Chaud</c:v>
                </c:pt>
                <c:pt idx="10">
                  <c:v>Pate Persillee</c:v>
                </c:pt>
                <c:pt idx="11">
                  <c:v>Ingredient A Chaud</c:v>
                </c:pt>
              </c:strCache>
            </c:strRef>
          </c:cat>
          <c:val>
            <c:numRef>
              <c:f>Sheet1!$B$2:$B$13</c:f>
              <c:numCache>
                <c:formatCode>General</c:formatCode>
                <c:ptCount val="12"/>
                <c:pt idx="0">
                  <c:v>233.13574600000001</c:v>
                </c:pt>
                <c:pt idx="1">
                  <c:v>221.89111600000001</c:v>
                </c:pt>
                <c:pt idx="2">
                  <c:v>10.303675</c:v>
                </c:pt>
                <c:pt idx="3">
                  <c:v>0.94095499999999999</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r>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r>
                      <a:t>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17D-4415-BF84-07900A61B31E}"/>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17D-4415-BF84-07900A61B31E}"/>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17D-4415-BF84-07900A61B31E}"/>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17D-4415-BF84-07900A61B31E}"/>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17D-4415-BF84-07900A61B31E}"/>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17D-4415-BF84-07900A61B31E}"/>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17D-4415-BF84-07900A61B31E}"/>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317D-4415-BF84-07900A61B31E}"/>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3</c:f>
              <c:strCache>
                <c:ptCount val="12"/>
                <c:pt idx="0">
                  <c:v>Grand</c:v>
                </c:pt>
                <c:pt idx="1">
                  <c:v>Soft Cheese</c:v>
                </c:pt>
                <c:pt idx="2">
                  <c:v>Aperitif</c:v>
                </c:pt>
                <c:pt idx="3">
                  <c:v>Alternative Vegetale</c:v>
                </c:pt>
                <c:pt idx="4">
                  <c:v>Tranche A Froid</c:v>
                </c:pt>
                <c:pt idx="5">
                  <c:v>Bloc</c:v>
                </c:pt>
                <c:pt idx="6">
                  <c:v>Dessert</c:v>
                </c:pt>
                <c:pt idx="7">
                  <c:v>Specialite</c:v>
                </c:pt>
                <c:pt idx="8">
                  <c:v>Rape</c:v>
                </c:pt>
                <c:pt idx="9">
                  <c:v>Plat Chaud</c:v>
                </c:pt>
                <c:pt idx="10">
                  <c:v>Pate Persillee</c:v>
                </c:pt>
                <c:pt idx="11">
                  <c:v>Ingredient A Chaud</c:v>
                </c:pt>
              </c:strCache>
            </c:strRef>
          </c:cat>
          <c:val>
            <c:numRef>
              <c:f>Sheet1!$B$2:$B$13</c:f>
              <c:numCache>
                <c:formatCode>General</c:formatCode>
                <c:ptCount val="12"/>
                <c:pt idx="0">
                  <c:v>30.956795</c:v>
                </c:pt>
                <c:pt idx="1">
                  <c:v>23.567757</c:v>
                </c:pt>
                <c:pt idx="2">
                  <c:v>7.1438560000000004</c:v>
                </c:pt>
                <c:pt idx="3">
                  <c:v>0.24518200000000001</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36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779-433B-BFAF-83FCCA3F42C5}"/>
                </c:ext>
              </c:extLst>
            </c:dLbl>
            <c:dLbl>
              <c:idx val="1"/>
              <c:tx>
                <c:rich>
                  <a:bodyPr/>
                  <a:lstStyle/>
                  <a:p>
                    <a:r>
                      <a:t>1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779-433B-BFAF-83FCCA3F42C5}"/>
                </c:ext>
              </c:extLst>
            </c:dLbl>
            <c:dLbl>
              <c:idx val="4"/>
              <c:tx>
                <c:rich>
                  <a:bodyPr/>
                  <a:lstStyle/>
                  <a:p>
                    <a:r>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779-433B-BFAF-83FCCA3F42C5}"/>
                </c:ext>
              </c:extLst>
            </c:dLbl>
            <c:dLbl>
              <c:idx val="5"/>
              <c:tx>
                <c:rich>
                  <a:bodyPr/>
                  <a:lstStyle/>
                  <a:p>
                    <a:r>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r>
                      <a:t>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779-433B-BFAF-83FCCA3F42C5}"/>
                </c:ext>
              </c:extLst>
            </c:dLbl>
            <c:dLbl>
              <c:idx val="7"/>
              <c:tx>
                <c:rich>
                  <a:bodyPr/>
                  <a:lstStyle/>
                  <a:p>
                    <a:r>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779-433B-BFAF-83FCCA3F42C5}"/>
                </c:ext>
              </c:extLst>
            </c:dLbl>
            <c:dLbl>
              <c:idx val="8"/>
              <c:tx>
                <c:rich>
                  <a:bodyPr/>
                  <a:lstStyle/>
                  <a:p>
                    <a:r>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4779-433B-BFAF-83FCCA3F42C5}"/>
                </c:ext>
              </c:extLst>
            </c:dLbl>
            <c:dLbl>
              <c:idx val="9"/>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779-433B-BFAF-83FCCA3F42C5}"/>
                </c:ext>
              </c:extLst>
            </c:dLbl>
            <c:dLbl>
              <c:idx val="10"/>
              <c:tx>
                <c:rich>
                  <a:bodyPr/>
                  <a:lstStyle/>
                  <a:p>
                    <a:r>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4779-433B-BFAF-83FCCA3F42C5}"/>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4779-433B-BFAF-83FCCA3F42C5}"/>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4779-433B-BFAF-83FCCA3F42C5}"/>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4779-433B-BFAF-83FCCA3F42C5}"/>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oft Cheese</c:v>
                </c:pt>
                <c:pt idx="2">
                  <c:v>Rape</c:v>
                </c:pt>
                <c:pt idx="3">
                  <c:v>Bloc</c:v>
                </c:pt>
                <c:pt idx="4">
                  <c:v>Specialite</c:v>
                </c:pt>
                <c:pt idx="5">
                  <c:v>Tranche A Froid</c:v>
                </c:pt>
                <c:pt idx="6">
                  <c:v>Pate Persillee</c:v>
                </c:pt>
                <c:pt idx="7">
                  <c:v>Aperitif</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362.89668499999999</c:v>
                </c:pt>
                <c:pt idx="1">
                  <c:v>173.91667899999999</c:v>
                </c:pt>
                <c:pt idx="2">
                  <c:v>59.464931</c:v>
                </c:pt>
                <c:pt idx="3">
                  <c:v>40.274228999999998</c:v>
                </c:pt>
                <c:pt idx="4">
                  <c:v>27.87398</c:v>
                </c:pt>
                <c:pt idx="5">
                  <c:v>19.120887</c:v>
                </c:pt>
                <c:pt idx="6">
                  <c:v>12.511229999999999</c:v>
                </c:pt>
                <c:pt idx="7">
                  <c:v>10.017999</c:v>
                </c:pt>
                <c:pt idx="8">
                  <c:v>8.1276980000000005</c:v>
                </c:pt>
                <c:pt idx="9">
                  <c:v>5.6791850000000004</c:v>
                </c:pt>
                <c:pt idx="10">
                  <c:v>5.4206830000000004</c:v>
                </c:pt>
                <c:pt idx="11">
                  <c:v>0.45221099999999997</c:v>
                </c:pt>
                <c:pt idx="12">
                  <c:v>3.0515E-2</c:v>
                </c:pt>
                <c:pt idx="13">
                  <c:v>5.8939999999999999E-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r>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F81-4C80-A6E4-1E04E22EC826}"/>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F81-4C80-A6E4-1E04E22EC826}"/>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F81-4C80-A6E4-1E04E22EC826}"/>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F81-4C80-A6E4-1E04E22EC826}"/>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F81-4C80-A6E4-1E04E22EC826}"/>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F81-4C80-A6E4-1E04E22EC826}"/>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F81-4C80-A6E4-1E04E22EC826}"/>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F81-4C80-A6E4-1E04E22EC826}"/>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F81-4C80-A6E4-1E04E22EC826}"/>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F81-4C80-A6E4-1E04E22EC826}"/>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oft Cheese</c:v>
                </c:pt>
                <c:pt idx="2">
                  <c:v>Rape</c:v>
                </c:pt>
                <c:pt idx="3">
                  <c:v>Bloc</c:v>
                </c:pt>
                <c:pt idx="4">
                  <c:v>Specialite</c:v>
                </c:pt>
                <c:pt idx="5">
                  <c:v>Tranche A Froid</c:v>
                </c:pt>
                <c:pt idx="6">
                  <c:v>Pate Persillee</c:v>
                </c:pt>
                <c:pt idx="7">
                  <c:v>Aperitif</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4.7470210000000002</c:v>
                </c:pt>
                <c:pt idx="1">
                  <c:v>4.7470210000000002</c:v>
                </c:pt>
                <c:pt idx="2">
                  <c:v>0</c:v>
                </c:pt>
                <c:pt idx="3">
                  <c:v>0</c:v>
                </c:pt>
                <c:pt idx="4">
                  <c:v>0</c:v>
                </c:pt>
                <c:pt idx="5">
                  <c:v>0</c:v>
                </c:pt>
                <c:pt idx="6">
                  <c:v>0</c:v>
                </c:pt>
                <c:pt idx="7">
                  <c:v>0</c:v>
                </c:pt>
                <c:pt idx="8">
                  <c:v>0</c:v>
                </c:pt>
                <c:pt idx="9">
                  <c:v>0</c:v>
                </c:pt>
                <c:pt idx="10">
                  <c:v>0</c:v>
                </c:pt>
                <c:pt idx="11">
                  <c:v>0</c:v>
                </c:pt>
                <c:pt idx="12">
                  <c:v>0</c:v>
                </c:pt>
                <c:pt idx="13">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36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D8D-472D-8430-510374C5E638}"/>
                </c:ext>
              </c:extLst>
            </c:dLbl>
            <c:dLbl>
              <c:idx val="1"/>
              <c:tx>
                <c:rich>
                  <a:bodyPr/>
                  <a:lstStyle/>
                  <a:p>
                    <a:r>
                      <a:t>1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D8D-472D-8430-510374C5E638}"/>
                </c:ext>
              </c:extLst>
            </c:dLbl>
            <c:dLbl>
              <c:idx val="4"/>
              <c:tx>
                <c:rich>
                  <a:bodyPr/>
                  <a:lstStyle/>
                  <a:p>
                    <a:r>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D8D-472D-8430-510374C5E638}"/>
                </c:ext>
              </c:extLst>
            </c:dLbl>
            <c:dLbl>
              <c:idx val="5"/>
              <c:tx>
                <c:rich>
                  <a:bodyPr/>
                  <a:lstStyle/>
                  <a:p>
                    <a:r>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r>
                      <a:t>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D8D-472D-8430-510374C5E638}"/>
                </c:ext>
              </c:extLst>
            </c:dLbl>
            <c:dLbl>
              <c:idx val="7"/>
              <c:tx>
                <c:rich>
                  <a:bodyPr/>
                  <a:lstStyle/>
                  <a:p>
                    <a:r>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D8D-472D-8430-510374C5E638}"/>
                </c:ext>
              </c:extLst>
            </c:dLbl>
            <c:dLbl>
              <c:idx val="8"/>
              <c:tx>
                <c:rich>
                  <a:bodyPr/>
                  <a:lstStyle/>
                  <a:p>
                    <a:r>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D8D-472D-8430-510374C5E638}"/>
                </c:ext>
              </c:extLst>
            </c:dLbl>
            <c:dLbl>
              <c:idx val="9"/>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D8D-472D-8430-510374C5E638}"/>
                </c:ext>
              </c:extLst>
            </c:dLbl>
            <c:dLbl>
              <c:idx val="10"/>
              <c:tx>
                <c:rich>
                  <a:bodyPr/>
                  <a:lstStyle/>
                  <a:p>
                    <a:r>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D8D-472D-8430-510374C5E638}"/>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D8D-472D-8430-510374C5E638}"/>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D8D-472D-8430-510374C5E638}"/>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D8D-472D-8430-510374C5E638}"/>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oft Cheese</c:v>
                </c:pt>
                <c:pt idx="2">
                  <c:v>Rape</c:v>
                </c:pt>
                <c:pt idx="3">
                  <c:v>Bloc</c:v>
                </c:pt>
                <c:pt idx="4">
                  <c:v>Specialite</c:v>
                </c:pt>
                <c:pt idx="5">
                  <c:v>Tranche A Froid</c:v>
                </c:pt>
                <c:pt idx="6">
                  <c:v>Pate Persillee</c:v>
                </c:pt>
                <c:pt idx="7">
                  <c:v>Aperitif</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362.89668499999999</c:v>
                </c:pt>
                <c:pt idx="1">
                  <c:v>173.91667899999999</c:v>
                </c:pt>
                <c:pt idx="2">
                  <c:v>59.464931</c:v>
                </c:pt>
                <c:pt idx="3">
                  <c:v>40.274228999999998</c:v>
                </c:pt>
                <c:pt idx="4">
                  <c:v>27.87398</c:v>
                </c:pt>
                <c:pt idx="5">
                  <c:v>19.120887</c:v>
                </c:pt>
                <c:pt idx="6">
                  <c:v>12.511229999999999</c:v>
                </c:pt>
                <c:pt idx="7">
                  <c:v>10.017999</c:v>
                </c:pt>
                <c:pt idx="8">
                  <c:v>8.1276980000000005</c:v>
                </c:pt>
                <c:pt idx="9">
                  <c:v>5.6791850000000004</c:v>
                </c:pt>
                <c:pt idx="10">
                  <c:v>5.4206830000000004</c:v>
                </c:pt>
                <c:pt idx="11">
                  <c:v>0.45221099999999997</c:v>
                </c:pt>
                <c:pt idx="12">
                  <c:v>3.0515E-2</c:v>
                </c:pt>
                <c:pt idx="13">
                  <c:v>5.8939999999999999E-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116-4F71-892E-A2BD7C45DA24}"/>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116-4F71-892E-A2BD7C45DA24}"/>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116-4F71-892E-A2BD7C45DA24}"/>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116-4F71-892E-A2BD7C45DA24}"/>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116-4F71-892E-A2BD7C45DA24}"/>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116-4F71-892E-A2BD7C45DA24}"/>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116-4F71-892E-A2BD7C45DA24}"/>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116-4F71-892E-A2BD7C45DA24}"/>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116-4F71-892E-A2BD7C45DA24}"/>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116-4F71-892E-A2BD7C45DA24}"/>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oft Cheese</c:v>
                </c:pt>
                <c:pt idx="2">
                  <c:v>Rape</c:v>
                </c:pt>
                <c:pt idx="3">
                  <c:v>Bloc</c:v>
                </c:pt>
                <c:pt idx="4">
                  <c:v>Specialite</c:v>
                </c:pt>
                <c:pt idx="5">
                  <c:v>Tranche A Froid</c:v>
                </c:pt>
                <c:pt idx="6">
                  <c:v>Pate Persillee</c:v>
                </c:pt>
                <c:pt idx="7">
                  <c:v>Aperitif</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5.6586449999999999</c:v>
                </c:pt>
                <c:pt idx="1">
                  <c:v>5.6585979999999996</c:v>
                </c:pt>
                <c:pt idx="2">
                  <c:v>0</c:v>
                </c:pt>
                <c:pt idx="3">
                  <c:v>0</c:v>
                </c:pt>
                <c:pt idx="4">
                  <c:v>0</c:v>
                </c:pt>
                <c:pt idx="5">
                  <c:v>0</c:v>
                </c:pt>
                <c:pt idx="6">
                  <c:v>0</c:v>
                </c:pt>
                <c:pt idx="7">
                  <c:v>0</c:v>
                </c:pt>
                <c:pt idx="8">
                  <c:v>4.6999999999999997E-5</c:v>
                </c:pt>
                <c:pt idx="9">
                  <c:v>0</c:v>
                </c:pt>
                <c:pt idx="10">
                  <c:v>0</c:v>
                </c:pt>
                <c:pt idx="11">
                  <c:v>0</c:v>
                </c:pt>
                <c:pt idx="12">
                  <c:v>0</c:v>
                </c:pt>
                <c:pt idx="13">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9</c:f>
              <c:numCache>
                <c:formatCode>General</c:formatCode>
                <c:ptCount val="8"/>
                <c:pt idx="0">
                  <c:v>6.9595117225312864E-3</c:v>
                </c:pt>
                <c:pt idx="1">
                  <c:v>-5.0313014287781954E-3</c:v>
                </c:pt>
                <c:pt idx="2">
                  <c:v>-1.5624847476360948E-3</c:v>
                </c:pt>
                <c:pt idx="3">
                  <c:v>-8.0844837111767875E-3</c:v>
                </c:pt>
                <c:pt idx="4">
                  <c:v>-5.6325300487610544E-3</c:v>
                </c:pt>
                <c:pt idx="5">
                  <c:v>7.0185023076457798E-3</c:v>
                </c:pt>
                <c:pt idx="6">
                  <c:v>3.6405952930567559E-3</c:v>
                </c:pt>
                <c:pt idx="7">
                  <c:v>3.4193809707784542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36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81C-4271-80AA-0A14B4BE486B}"/>
                </c:ext>
              </c:extLst>
            </c:dLbl>
            <c:dLbl>
              <c:idx val="1"/>
              <c:tx>
                <c:rich>
                  <a:bodyPr/>
                  <a:lstStyle/>
                  <a:p>
                    <a:r>
                      <a:t>1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81C-4271-80AA-0A14B4BE486B}"/>
                </c:ext>
              </c:extLst>
            </c:dLbl>
            <c:dLbl>
              <c:idx val="4"/>
              <c:tx>
                <c:rich>
                  <a:bodyPr/>
                  <a:lstStyle/>
                  <a:p>
                    <a:r>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81C-4271-80AA-0A14B4BE486B}"/>
                </c:ext>
              </c:extLst>
            </c:dLbl>
            <c:dLbl>
              <c:idx val="5"/>
              <c:tx>
                <c:rich>
                  <a:bodyPr/>
                  <a:lstStyle/>
                  <a:p>
                    <a:r>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r>
                      <a:t>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81C-4271-80AA-0A14B4BE486B}"/>
                </c:ext>
              </c:extLst>
            </c:dLbl>
            <c:dLbl>
              <c:idx val="7"/>
              <c:tx>
                <c:rich>
                  <a:bodyPr/>
                  <a:lstStyle/>
                  <a:p>
                    <a:r>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81C-4271-80AA-0A14B4BE486B}"/>
                </c:ext>
              </c:extLst>
            </c:dLbl>
            <c:dLbl>
              <c:idx val="8"/>
              <c:tx>
                <c:rich>
                  <a:bodyPr/>
                  <a:lstStyle/>
                  <a:p>
                    <a:r>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81C-4271-80AA-0A14B4BE486B}"/>
                </c:ext>
              </c:extLst>
            </c:dLbl>
            <c:dLbl>
              <c:idx val="9"/>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81C-4271-80AA-0A14B4BE486B}"/>
                </c:ext>
              </c:extLst>
            </c:dLbl>
            <c:dLbl>
              <c:idx val="10"/>
              <c:tx>
                <c:rich>
                  <a:bodyPr/>
                  <a:lstStyle/>
                  <a:p>
                    <a:r>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81C-4271-80AA-0A14B4BE486B}"/>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81C-4271-80AA-0A14B4BE486B}"/>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81C-4271-80AA-0A14B4BE486B}"/>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81C-4271-80AA-0A14B4BE486B}"/>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oft Cheese</c:v>
                </c:pt>
                <c:pt idx="2">
                  <c:v>Rape</c:v>
                </c:pt>
                <c:pt idx="3">
                  <c:v>Bloc</c:v>
                </c:pt>
                <c:pt idx="4">
                  <c:v>Specialite</c:v>
                </c:pt>
                <c:pt idx="5">
                  <c:v>Tranche A Froid</c:v>
                </c:pt>
                <c:pt idx="6">
                  <c:v>Pate Persillee</c:v>
                </c:pt>
                <c:pt idx="7">
                  <c:v>Aperitif</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362.89668499999999</c:v>
                </c:pt>
                <c:pt idx="1">
                  <c:v>173.91667899999999</c:v>
                </c:pt>
                <c:pt idx="2">
                  <c:v>59.464931</c:v>
                </c:pt>
                <c:pt idx="3">
                  <c:v>40.274228999999998</c:v>
                </c:pt>
                <c:pt idx="4">
                  <c:v>27.87398</c:v>
                </c:pt>
                <c:pt idx="5">
                  <c:v>19.120887</c:v>
                </c:pt>
                <c:pt idx="6">
                  <c:v>12.511229999999999</c:v>
                </c:pt>
                <c:pt idx="7">
                  <c:v>10.017999</c:v>
                </c:pt>
                <c:pt idx="8">
                  <c:v>8.1276980000000005</c:v>
                </c:pt>
                <c:pt idx="9">
                  <c:v>5.6791850000000004</c:v>
                </c:pt>
                <c:pt idx="10">
                  <c:v>5.4206830000000004</c:v>
                </c:pt>
                <c:pt idx="11">
                  <c:v>0.45221099999999997</c:v>
                </c:pt>
                <c:pt idx="12">
                  <c:v>3.0515E-2</c:v>
                </c:pt>
                <c:pt idx="13">
                  <c:v>5.8939999999999999E-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r>
                      <a:t>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AEF-4BD9-B5B7-A8222945E4F9}"/>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AEF-4BD9-B5B7-A8222945E4F9}"/>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AEF-4BD9-B5B7-A8222945E4F9}"/>
                </c:ext>
              </c:extLst>
            </c:dLbl>
            <c:dLbl>
              <c:idx val="7"/>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AEF-4BD9-B5B7-A8222945E4F9}"/>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AEF-4BD9-B5B7-A8222945E4F9}"/>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AEF-4BD9-B5B7-A8222945E4F9}"/>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8AEF-4BD9-B5B7-A8222945E4F9}"/>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AEF-4BD9-B5B7-A8222945E4F9}"/>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8AEF-4BD9-B5B7-A8222945E4F9}"/>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AEF-4BD9-B5B7-A8222945E4F9}"/>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oft Cheese</c:v>
                </c:pt>
                <c:pt idx="2">
                  <c:v>Rape</c:v>
                </c:pt>
                <c:pt idx="3">
                  <c:v>Bloc</c:v>
                </c:pt>
                <c:pt idx="4">
                  <c:v>Specialite</c:v>
                </c:pt>
                <c:pt idx="5">
                  <c:v>Tranche A Froid</c:v>
                </c:pt>
                <c:pt idx="6">
                  <c:v>Pate Persillee</c:v>
                </c:pt>
                <c:pt idx="7">
                  <c:v>Aperitif</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5.5925989999999999</c:v>
                </c:pt>
                <c:pt idx="1">
                  <c:v>4.2409549999999996</c:v>
                </c:pt>
                <c:pt idx="2">
                  <c:v>0</c:v>
                </c:pt>
                <c:pt idx="3">
                  <c:v>0</c:v>
                </c:pt>
                <c:pt idx="4">
                  <c:v>0</c:v>
                </c:pt>
                <c:pt idx="5">
                  <c:v>0</c:v>
                </c:pt>
                <c:pt idx="6">
                  <c:v>0</c:v>
                </c:pt>
                <c:pt idx="7">
                  <c:v>1.1780649999999999</c:v>
                </c:pt>
                <c:pt idx="8">
                  <c:v>0.17357900000000001</c:v>
                </c:pt>
                <c:pt idx="9">
                  <c:v>0</c:v>
                </c:pt>
                <c:pt idx="10">
                  <c:v>0</c:v>
                </c:pt>
                <c:pt idx="11">
                  <c:v>0</c:v>
                </c:pt>
                <c:pt idx="12">
                  <c:v>0</c:v>
                </c:pt>
                <c:pt idx="13">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36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D97-48A0-AF69-9FF045310495}"/>
                </c:ext>
              </c:extLst>
            </c:dLbl>
            <c:dLbl>
              <c:idx val="1"/>
              <c:tx>
                <c:rich>
                  <a:bodyPr/>
                  <a:lstStyle/>
                  <a:p>
                    <a:r>
                      <a:t>1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D97-48A0-AF69-9FF045310495}"/>
                </c:ext>
              </c:extLst>
            </c:dLbl>
            <c:dLbl>
              <c:idx val="4"/>
              <c:tx>
                <c:rich>
                  <a:bodyPr/>
                  <a:lstStyle/>
                  <a:p>
                    <a:r>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D97-48A0-AF69-9FF045310495}"/>
                </c:ext>
              </c:extLst>
            </c:dLbl>
            <c:dLbl>
              <c:idx val="5"/>
              <c:tx>
                <c:rich>
                  <a:bodyPr/>
                  <a:lstStyle/>
                  <a:p>
                    <a:r>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r>
                      <a:t>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D97-48A0-AF69-9FF045310495}"/>
                </c:ext>
              </c:extLst>
            </c:dLbl>
            <c:dLbl>
              <c:idx val="7"/>
              <c:tx>
                <c:rich>
                  <a:bodyPr/>
                  <a:lstStyle/>
                  <a:p>
                    <a:r>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D97-48A0-AF69-9FF045310495}"/>
                </c:ext>
              </c:extLst>
            </c:dLbl>
            <c:dLbl>
              <c:idx val="8"/>
              <c:tx>
                <c:rich>
                  <a:bodyPr/>
                  <a:lstStyle/>
                  <a:p>
                    <a:r>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D97-48A0-AF69-9FF045310495}"/>
                </c:ext>
              </c:extLst>
            </c:dLbl>
            <c:dLbl>
              <c:idx val="9"/>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D97-48A0-AF69-9FF045310495}"/>
                </c:ext>
              </c:extLst>
            </c:dLbl>
            <c:dLbl>
              <c:idx val="10"/>
              <c:tx>
                <c:rich>
                  <a:bodyPr/>
                  <a:lstStyle/>
                  <a:p>
                    <a:r>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7D97-48A0-AF69-9FF045310495}"/>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D97-48A0-AF69-9FF045310495}"/>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7D97-48A0-AF69-9FF045310495}"/>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7D97-48A0-AF69-9FF045310495}"/>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oft Cheese</c:v>
                </c:pt>
                <c:pt idx="2">
                  <c:v>Rape</c:v>
                </c:pt>
                <c:pt idx="3">
                  <c:v>Bloc</c:v>
                </c:pt>
                <c:pt idx="4">
                  <c:v>Specialite</c:v>
                </c:pt>
                <c:pt idx="5">
                  <c:v>Tranche A Froid</c:v>
                </c:pt>
                <c:pt idx="6">
                  <c:v>Pate Persillee</c:v>
                </c:pt>
                <c:pt idx="7">
                  <c:v>Aperitif</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362.89668499999999</c:v>
                </c:pt>
                <c:pt idx="1">
                  <c:v>173.91667899999999</c:v>
                </c:pt>
                <c:pt idx="2">
                  <c:v>59.464931</c:v>
                </c:pt>
                <c:pt idx="3">
                  <c:v>40.274228999999998</c:v>
                </c:pt>
                <c:pt idx="4">
                  <c:v>27.87398</c:v>
                </c:pt>
                <c:pt idx="5">
                  <c:v>19.120887</c:v>
                </c:pt>
                <c:pt idx="6">
                  <c:v>12.511229999999999</c:v>
                </c:pt>
                <c:pt idx="7">
                  <c:v>10.017999</c:v>
                </c:pt>
                <c:pt idx="8">
                  <c:v>8.1276980000000005</c:v>
                </c:pt>
                <c:pt idx="9">
                  <c:v>5.6791850000000004</c:v>
                </c:pt>
                <c:pt idx="10">
                  <c:v>5.4206830000000004</c:v>
                </c:pt>
                <c:pt idx="11">
                  <c:v>0.45221099999999997</c:v>
                </c:pt>
                <c:pt idx="12">
                  <c:v>3.0515E-2</c:v>
                </c:pt>
                <c:pt idx="13">
                  <c:v>5.8939999999999999E-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r>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60A-4966-9FE5-7665EF9DF8CC}"/>
                </c:ext>
              </c:extLst>
            </c:dLbl>
            <c:dLbl>
              <c:idx val="4"/>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60A-4966-9FE5-7665EF9DF8CC}"/>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60A-4966-9FE5-7665EF9DF8CC}"/>
                </c:ext>
              </c:extLst>
            </c:dLbl>
            <c:dLbl>
              <c:idx val="7"/>
              <c:tx>
                <c:rich>
                  <a:bodyPr/>
                  <a:lstStyle/>
                  <a:p>
                    <a:r>
                      <a:t>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60A-4966-9FE5-7665EF9DF8CC}"/>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60A-4966-9FE5-7665EF9DF8CC}"/>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60A-4966-9FE5-7665EF9DF8CC}"/>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760A-4966-9FE5-7665EF9DF8CC}"/>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60A-4966-9FE5-7665EF9DF8CC}"/>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760A-4966-9FE5-7665EF9DF8CC}"/>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760A-4966-9FE5-7665EF9DF8CC}"/>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oft Cheese</c:v>
                </c:pt>
                <c:pt idx="2">
                  <c:v>Rape</c:v>
                </c:pt>
                <c:pt idx="3">
                  <c:v>Bloc</c:v>
                </c:pt>
                <c:pt idx="4">
                  <c:v>Specialite</c:v>
                </c:pt>
                <c:pt idx="5">
                  <c:v>Tranche A Froid</c:v>
                </c:pt>
                <c:pt idx="6">
                  <c:v>Pate Persillee</c:v>
                </c:pt>
                <c:pt idx="7">
                  <c:v>Aperitif</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27.737898999999999</c:v>
                </c:pt>
                <c:pt idx="1">
                  <c:v>19.359819999999999</c:v>
                </c:pt>
                <c:pt idx="2">
                  <c:v>0</c:v>
                </c:pt>
                <c:pt idx="3">
                  <c:v>1.616E-3</c:v>
                </c:pt>
                <c:pt idx="4">
                  <c:v>1.1260650000000001</c:v>
                </c:pt>
                <c:pt idx="5">
                  <c:v>2.421E-3</c:v>
                </c:pt>
                <c:pt idx="6">
                  <c:v>0</c:v>
                </c:pt>
                <c:pt idx="7">
                  <c:v>6.9501939999999998</c:v>
                </c:pt>
                <c:pt idx="8">
                  <c:v>0.173626</c:v>
                </c:pt>
                <c:pt idx="9">
                  <c:v>0</c:v>
                </c:pt>
                <c:pt idx="10">
                  <c:v>0</c:v>
                </c:pt>
                <c:pt idx="11">
                  <c:v>0.124157</c:v>
                </c:pt>
                <c:pt idx="12">
                  <c:v>0</c:v>
                </c:pt>
                <c:pt idx="13">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15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1DC-4942-87B8-33417AEBDB58}"/>
                </c:ext>
              </c:extLst>
            </c:dLbl>
            <c:dLbl>
              <c:idx val="1"/>
              <c:tx>
                <c:rich>
                  <a:bodyPr/>
                  <a:lstStyle/>
                  <a:p>
                    <a:r>
                      <a:t>4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2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2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1DC-4942-87B8-33417AEBDB58}"/>
                </c:ext>
              </c:extLst>
            </c:dLbl>
            <c:dLbl>
              <c:idx val="4"/>
              <c:tx>
                <c:rich>
                  <a:bodyPr/>
                  <a:lstStyle/>
                  <a:p>
                    <a:r>
                      <a:t>17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1DC-4942-87B8-33417AEBDB58}"/>
                </c:ext>
              </c:extLst>
            </c:dLbl>
            <c:dLbl>
              <c:idx val="5"/>
              <c:tx>
                <c:rich>
                  <a:bodyPr/>
                  <a:lstStyle/>
                  <a:p>
                    <a:r>
                      <a:t>1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r>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1DC-4942-87B8-33417AEBDB58}"/>
                </c:ext>
              </c:extLst>
            </c:dLbl>
            <c:dLbl>
              <c:idx val="7"/>
              <c:tx>
                <c:rich>
                  <a:bodyPr/>
                  <a:lstStyle/>
                  <a:p>
                    <a:r>
                      <a:t>5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1DC-4942-87B8-33417AEBDB58}"/>
                </c:ext>
              </c:extLst>
            </c:dLbl>
            <c:dLbl>
              <c:idx val="8"/>
              <c:tx>
                <c:rich>
                  <a:bodyPr/>
                  <a:lstStyle/>
                  <a:p>
                    <a:r>
                      <a:t>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01DC-4942-87B8-33417AEBDB58}"/>
                </c:ext>
              </c:extLst>
            </c:dLbl>
            <c:dLbl>
              <c:idx val="9"/>
              <c:tx>
                <c:rich>
                  <a:bodyPr/>
                  <a:lstStyle/>
                  <a:p>
                    <a:r>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01DC-4942-87B8-33417AEBDB58}"/>
                </c:ext>
              </c:extLst>
            </c:dLbl>
            <c:dLbl>
              <c:idx val="10"/>
              <c:tx>
                <c:rich>
                  <a:bodyPr/>
                  <a:lstStyle/>
                  <a:p>
                    <a:r>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01DC-4942-87B8-33417AEBDB58}"/>
                </c:ext>
              </c:extLst>
            </c:dLbl>
            <c:dLbl>
              <c:idx val="11"/>
              <c:tx>
                <c:rich>
                  <a:bodyPr/>
                  <a:lstStyle/>
                  <a:p>
                    <a:r>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01DC-4942-87B8-33417AEBDB58}"/>
                </c:ext>
              </c:extLst>
            </c:dLbl>
            <c:dLbl>
              <c:idx val="12"/>
              <c:tx>
                <c:rich>
                  <a:bodyPr/>
                  <a:lstStyle/>
                  <a:p>
                    <a:r>
                      <a:t>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01DC-4942-87B8-33417AEBDB58}"/>
                </c:ext>
              </c:extLst>
            </c:dLbl>
            <c:dLbl>
              <c:idx val="13"/>
              <c:tx>
                <c:rich>
                  <a:bodyPr/>
                  <a:lstStyle/>
                  <a:p>
                    <a:r>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01DC-4942-87B8-33417AEBDB58}"/>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alade</c:v>
                </c:pt>
                <c:pt idx="2">
                  <c:v>Classique</c:v>
                </c:pt>
                <c:pt idx="3">
                  <c:v>Chevre</c:v>
                </c:pt>
                <c:pt idx="4">
                  <c:v>Frais A Tartiner</c:v>
                </c:pt>
                <c:pt idx="5">
                  <c:v>Enfant</c:v>
                </c:pt>
                <c:pt idx="6">
                  <c:v>Rape</c:v>
                </c:pt>
                <c:pt idx="7">
                  <c:v>Aperitif</c:v>
                </c:pt>
                <c:pt idx="8">
                  <c:v>Brebis</c:v>
                </c:pt>
                <c:pt idx="9">
                  <c:v>Bloc</c:v>
                </c:pt>
                <c:pt idx="10">
                  <c:v>Specialite</c:v>
                </c:pt>
                <c:pt idx="11">
                  <c:v>Tranche A Froid</c:v>
                </c:pt>
                <c:pt idx="12">
                  <c:v>Pate Persillee</c:v>
                </c:pt>
                <c:pt idx="13">
                  <c:v>Ingredient A Chaud</c:v>
                </c:pt>
              </c:strCache>
            </c:strRef>
          </c:cat>
          <c:val>
            <c:numRef>
              <c:f>Sheet1!$B$2:$B$15</c:f>
              <c:numCache>
                <c:formatCode>General</c:formatCode>
                <c:ptCount val="14"/>
                <c:pt idx="0">
                  <c:v>1537.9494649999999</c:v>
                </c:pt>
                <c:pt idx="1">
                  <c:v>450.37244099999998</c:v>
                </c:pt>
                <c:pt idx="2">
                  <c:v>296.46293600000001</c:v>
                </c:pt>
                <c:pt idx="3">
                  <c:v>201.56516199999999</c:v>
                </c:pt>
                <c:pt idx="4">
                  <c:v>174.76834600000001</c:v>
                </c:pt>
                <c:pt idx="5">
                  <c:v>137.16738900000001</c:v>
                </c:pt>
                <c:pt idx="6">
                  <c:v>59.466858999999999</c:v>
                </c:pt>
                <c:pt idx="7">
                  <c:v>54.700437999999998</c:v>
                </c:pt>
                <c:pt idx="8">
                  <c:v>40.762295999999999</c:v>
                </c:pt>
                <c:pt idx="9">
                  <c:v>40.276411000000003</c:v>
                </c:pt>
                <c:pt idx="10">
                  <c:v>27.881792999999998</c:v>
                </c:pt>
                <c:pt idx="11">
                  <c:v>19.122785</c:v>
                </c:pt>
                <c:pt idx="12">
                  <c:v>12.511972</c:v>
                </c:pt>
                <c:pt idx="13">
                  <c:v>8.130613000000000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EB5-4F15-BA9A-B7DC8249DD50}"/>
                </c:ext>
              </c:extLst>
            </c:dLbl>
            <c:dLbl>
              <c:idx val="4"/>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EB5-4F15-BA9A-B7DC8249DD50}"/>
                </c:ext>
              </c:extLst>
            </c:dLbl>
            <c:dLbl>
              <c:idx val="5"/>
              <c:tx>
                <c:rich>
                  <a:bodyPr/>
                  <a:lstStyle/>
                  <a:p>
                    <a:r>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EB5-4F15-BA9A-B7DC8249DD50}"/>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EB5-4F15-BA9A-B7DC8249DD50}"/>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EB5-4F15-BA9A-B7DC8249DD50}"/>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EB5-4F15-BA9A-B7DC8249DD50}"/>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EB5-4F15-BA9A-B7DC8249DD50}"/>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EB5-4F15-BA9A-B7DC8249DD50}"/>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EB5-4F15-BA9A-B7DC8249DD50}"/>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EB5-4F15-BA9A-B7DC8249DD50}"/>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alade</c:v>
                </c:pt>
                <c:pt idx="2">
                  <c:v>Classique</c:v>
                </c:pt>
                <c:pt idx="3">
                  <c:v>Chevre</c:v>
                </c:pt>
                <c:pt idx="4">
                  <c:v>Frais A Tartiner</c:v>
                </c:pt>
                <c:pt idx="5">
                  <c:v>Enfant</c:v>
                </c:pt>
                <c:pt idx="6">
                  <c:v>Rape</c:v>
                </c:pt>
                <c:pt idx="7">
                  <c:v>Aperitif</c:v>
                </c:pt>
                <c:pt idx="8">
                  <c:v>Brebis</c:v>
                </c:pt>
                <c:pt idx="9">
                  <c:v>Bloc</c:v>
                </c:pt>
                <c:pt idx="10">
                  <c:v>Specialite</c:v>
                </c:pt>
                <c:pt idx="11">
                  <c:v>Tranche A Froid</c:v>
                </c:pt>
                <c:pt idx="12">
                  <c:v>Pate Persillee</c:v>
                </c:pt>
                <c:pt idx="13">
                  <c:v>Ingredient A Chaud</c:v>
                </c:pt>
              </c:strCache>
            </c:strRef>
          </c:cat>
          <c:val>
            <c:numRef>
              <c:f>Sheet1!$B$2:$B$15</c:f>
              <c:numCache>
                <c:formatCode>General</c:formatCode>
                <c:ptCount val="14"/>
                <c:pt idx="0">
                  <c:v>29.293534999999999</c:v>
                </c:pt>
                <c:pt idx="1">
                  <c:v>0</c:v>
                </c:pt>
                <c:pt idx="2">
                  <c:v>0</c:v>
                </c:pt>
                <c:pt idx="3">
                  <c:v>0</c:v>
                </c:pt>
                <c:pt idx="4">
                  <c:v>1.2584280000000001</c:v>
                </c:pt>
                <c:pt idx="5">
                  <c:v>28.035107</c:v>
                </c:pt>
                <c:pt idx="6">
                  <c:v>0</c:v>
                </c:pt>
                <c:pt idx="7">
                  <c:v>0</c:v>
                </c:pt>
                <c:pt idx="8">
                  <c:v>0</c:v>
                </c:pt>
                <c:pt idx="9">
                  <c:v>0</c:v>
                </c:pt>
                <c:pt idx="10">
                  <c:v>0</c:v>
                </c:pt>
                <c:pt idx="11">
                  <c:v>0</c:v>
                </c:pt>
                <c:pt idx="12">
                  <c:v>0</c:v>
                </c:pt>
                <c:pt idx="13">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15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7A9-4BBF-88CB-1A25B18EA0AB}"/>
                </c:ext>
              </c:extLst>
            </c:dLbl>
            <c:dLbl>
              <c:idx val="1"/>
              <c:tx>
                <c:rich>
                  <a:bodyPr/>
                  <a:lstStyle/>
                  <a:p>
                    <a:r>
                      <a:t>4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2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2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7A9-4BBF-88CB-1A25B18EA0AB}"/>
                </c:ext>
              </c:extLst>
            </c:dLbl>
            <c:dLbl>
              <c:idx val="4"/>
              <c:tx>
                <c:rich>
                  <a:bodyPr/>
                  <a:lstStyle/>
                  <a:p>
                    <a:r>
                      <a:t>17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7A9-4BBF-88CB-1A25B18EA0AB}"/>
                </c:ext>
              </c:extLst>
            </c:dLbl>
            <c:dLbl>
              <c:idx val="5"/>
              <c:tx>
                <c:rich>
                  <a:bodyPr/>
                  <a:lstStyle/>
                  <a:p>
                    <a:r>
                      <a:t>1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r>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7A9-4BBF-88CB-1A25B18EA0AB}"/>
                </c:ext>
              </c:extLst>
            </c:dLbl>
            <c:dLbl>
              <c:idx val="7"/>
              <c:tx>
                <c:rich>
                  <a:bodyPr/>
                  <a:lstStyle/>
                  <a:p>
                    <a:r>
                      <a:t>5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7A9-4BBF-88CB-1A25B18EA0AB}"/>
                </c:ext>
              </c:extLst>
            </c:dLbl>
            <c:dLbl>
              <c:idx val="8"/>
              <c:tx>
                <c:rich>
                  <a:bodyPr/>
                  <a:lstStyle/>
                  <a:p>
                    <a:r>
                      <a:t>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7A9-4BBF-88CB-1A25B18EA0AB}"/>
                </c:ext>
              </c:extLst>
            </c:dLbl>
            <c:dLbl>
              <c:idx val="9"/>
              <c:tx>
                <c:rich>
                  <a:bodyPr/>
                  <a:lstStyle/>
                  <a:p>
                    <a:r>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7A9-4BBF-88CB-1A25B18EA0AB}"/>
                </c:ext>
              </c:extLst>
            </c:dLbl>
            <c:dLbl>
              <c:idx val="10"/>
              <c:tx>
                <c:rich>
                  <a:bodyPr/>
                  <a:lstStyle/>
                  <a:p>
                    <a:r>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7A9-4BBF-88CB-1A25B18EA0AB}"/>
                </c:ext>
              </c:extLst>
            </c:dLbl>
            <c:dLbl>
              <c:idx val="11"/>
              <c:tx>
                <c:rich>
                  <a:bodyPr/>
                  <a:lstStyle/>
                  <a:p>
                    <a:r>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7A9-4BBF-88CB-1A25B18EA0AB}"/>
                </c:ext>
              </c:extLst>
            </c:dLbl>
            <c:dLbl>
              <c:idx val="12"/>
              <c:tx>
                <c:rich>
                  <a:bodyPr/>
                  <a:lstStyle/>
                  <a:p>
                    <a:r>
                      <a:t>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7A9-4BBF-88CB-1A25B18EA0AB}"/>
                </c:ext>
              </c:extLst>
            </c:dLbl>
            <c:dLbl>
              <c:idx val="13"/>
              <c:tx>
                <c:rich>
                  <a:bodyPr/>
                  <a:lstStyle/>
                  <a:p>
                    <a:r>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D7A9-4BBF-88CB-1A25B18EA0AB}"/>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alade</c:v>
                </c:pt>
                <c:pt idx="2">
                  <c:v>Classique</c:v>
                </c:pt>
                <c:pt idx="3">
                  <c:v>Chevre</c:v>
                </c:pt>
                <c:pt idx="4">
                  <c:v>Frais A Tartiner</c:v>
                </c:pt>
                <c:pt idx="5">
                  <c:v>Enfant</c:v>
                </c:pt>
                <c:pt idx="6">
                  <c:v>Rape</c:v>
                </c:pt>
                <c:pt idx="7">
                  <c:v>Aperitif</c:v>
                </c:pt>
                <c:pt idx="8">
                  <c:v>Brebis</c:v>
                </c:pt>
                <c:pt idx="9">
                  <c:v>Bloc</c:v>
                </c:pt>
                <c:pt idx="10">
                  <c:v>Specialite</c:v>
                </c:pt>
                <c:pt idx="11">
                  <c:v>Tranche A Froid</c:v>
                </c:pt>
                <c:pt idx="12">
                  <c:v>Pate Persillee</c:v>
                </c:pt>
                <c:pt idx="13">
                  <c:v>Ingredient A Chaud</c:v>
                </c:pt>
              </c:strCache>
            </c:strRef>
          </c:cat>
          <c:val>
            <c:numRef>
              <c:f>Sheet1!$B$2:$B$15</c:f>
              <c:numCache>
                <c:formatCode>General</c:formatCode>
                <c:ptCount val="14"/>
                <c:pt idx="0">
                  <c:v>1537.9494649999999</c:v>
                </c:pt>
                <c:pt idx="1">
                  <c:v>450.37244099999998</c:v>
                </c:pt>
                <c:pt idx="2">
                  <c:v>296.46293600000001</c:v>
                </c:pt>
                <c:pt idx="3">
                  <c:v>201.56516199999999</c:v>
                </c:pt>
                <c:pt idx="4">
                  <c:v>174.76834600000001</c:v>
                </c:pt>
                <c:pt idx="5">
                  <c:v>137.16738900000001</c:v>
                </c:pt>
                <c:pt idx="6">
                  <c:v>59.466858999999999</c:v>
                </c:pt>
                <c:pt idx="7">
                  <c:v>54.700437999999998</c:v>
                </c:pt>
                <c:pt idx="8">
                  <c:v>40.762295999999999</c:v>
                </c:pt>
                <c:pt idx="9">
                  <c:v>40.276411000000003</c:v>
                </c:pt>
                <c:pt idx="10">
                  <c:v>27.881792999999998</c:v>
                </c:pt>
                <c:pt idx="11">
                  <c:v>19.122785</c:v>
                </c:pt>
                <c:pt idx="12">
                  <c:v>12.511972</c:v>
                </c:pt>
                <c:pt idx="13">
                  <c:v>8.130613000000000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288-42D8-A398-D8D32E80A9CB}"/>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88-42D8-A398-D8D32E80A9CB}"/>
                </c:ext>
              </c:extLst>
            </c:dLbl>
            <c:dLbl>
              <c:idx val="5"/>
              <c:tx>
                <c:rich>
                  <a:bodyPr/>
                  <a:lstStyle/>
                  <a:p>
                    <a:r>
                      <a:t>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288-42D8-A398-D8D32E80A9CB}"/>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288-42D8-A398-D8D32E80A9CB}"/>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288-42D8-A398-D8D32E80A9CB}"/>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288-42D8-A398-D8D32E80A9CB}"/>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288-42D8-A398-D8D32E80A9CB}"/>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288-42D8-A398-D8D32E80A9CB}"/>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288-42D8-A398-D8D32E80A9CB}"/>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288-42D8-A398-D8D32E80A9CB}"/>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alade</c:v>
                </c:pt>
                <c:pt idx="2">
                  <c:v>Classique</c:v>
                </c:pt>
                <c:pt idx="3">
                  <c:v>Chevre</c:v>
                </c:pt>
                <c:pt idx="4">
                  <c:v>Frais A Tartiner</c:v>
                </c:pt>
                <c:pt idx="5">
                  <c:v>Enfant</c:v>
                </c:pt>
                <c:pt idx="6">
                  <c:v>Rape</c:v>
                </c:pt>
                <c:pt idx="7">
                  <c:v>Aperitif</c:v>
                </c:pt>
                <c:pt idx="8">
                  <c:v>Brebis</c:v>
                </c:pt>
                <c:pt idx="9">
                  <c:v>Bloc</c:v>
                </c:pt>
                <c:pt idx="10">
                  <c:v>Specialite</c:v>
                </c:pt>
                <c:pt idx="11">
                  <c:v>Tranche A Froid</c:v>
                </c:pt>
                <c:pt idx="12">
                  <c:v>Pate Persillee</c:v>
                </c:pt>
                <c:pt idx="13">
                  <c:v>Ingredient A Chaud</c:v>
                </c:pt>
              </c:strCache>
            </c:strRef>
          </c:cat>
          <c:val>
            <c:numRef>
              <c:f>Sheet1!$B$2:$B$15</c:f>
              <c:numCache>
                <c:formatCode>General</c:formatCode>
                <c:ptCount val="14"/>
                <c:pt idx="0">
                  <c:v>35.786185000000003</c:v>
                </c:pt>
                <c:pt idx="1">
                  <c:v>0</c:v>
                </c:pt>
                <c:pt idx="2">
                  <c:v>0</c:v>
                </c:pt>
                <c:pt idx="3">
                  <c:v>0</c:v>
                </c:pt>
                <c:pt idx="4">
                  <c:v>2.5999999999999998E-5</c:v>
                </c:pt>
                <c:pt idx="5">
                  <c:v>35.786112000000003</c:v>
                </c:pt>
                <c:pt idx="6">
                  <c:v>0</c:v>
                </c:pt>
                <c:pt idx="7">
                  <c:v>0</c:v>
                </c:pt>
                <c:pt idx="8">
                  <c:v>0</c:v>
                </c:pt>
                <c:pt idx="9">
                  <c:v>0</c:v>
                </c:pt>
                <c:pt idx="10">
                  <c:v>0</c:v>
                </c:pt>
                <c:pt idx="11">
                  <c:v>0</c:v>
                </c:pt>
                <c:pt idx="12">
                  <c:v>0</c:v>
                </c:pt>
                <c:pt idx="13">
                  <c:v>4.6999999999999997E-5</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15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29E-4A34-871C-A33E272F9973}"/>
                </c:ext>
              </c:extLst>
            </c:dLbl>
            <c:dLbl>
              <c:idx val="1"/>
              <c:tx>
                <c:rich>
                  <a:bodyPr/>
                  <a:lstStyle/>
                  <a:p>
                    <a:r>
                      <a:t>4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2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2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29E-4A34-871C-A33E272F9973}"/>
                </c:ext>
              </c:extLst>
            </c:dLbl>
            <c:dLbl>
              <c:idx val="4"/>
              <c:tx>
                <c:rich>
                  <a:bodyPr/>
                  <a:lstStyle/>
                  <a:p>
                    <a:r>
                      <a:t>17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29E-4A34-871C-A33E272F9973}"/>
                </c:ext>
              </c:extLst>
            </c:dLbl>
            <c:dLbl>
              <c:idx val="5"/>
              <c:tx>
                <c:rich>
                  <a:bodyPr/>
                  <a:lstStyle/>
                  <a:p>
                    <a:r>
                      <a:t>1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r>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29E-4A34-871C-A33E272F9973}"/>
                </c:ext>
              </c:extLst>
            </c:dLbl>
            <c:dLbl>
              <c:idx val="7"/>
              <c:tx>
                <c:rich>
                  <a:bodyPr/>
                  <a:lstStyle/>
                  <a:p>
                    <a:r>
                      <a:t>5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29E-4A34-871C-A33E272F9973}"/>
                </c:ext>
              </c:extLst>
            </c:dLbl>
            <c:dLbl>
              <c:idx val="8"/>
              <c:tx>
                <c:rich>
                  <a:bodyPr/>
                  <a:lstStyle/>
                  <a:p>
                    <a:r>
                      <a:t>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29E-4A34-871C-A33E272F9973}"/>
                </c:ext>
              </c:extLst>
            </c:dLbl>
            <c:dLbl>
              <c:idx val="9"/>
              <c:tx>
                <c:rich>
                  <a:bodyPr/>
                  <a:lstStyle/>
                  <a:p>
                    <a:r>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29E-4A34-871C-A33E272F9973}"/>
                </c:ext>
              </c:extLst>
            </c:dLbl>
            <c:dLbl>
              <c:idx val="10"/>
              <c:tx>
                <c:rich>
                  <a:bodyPr/>
                  <a:lstStyle/>
                  <a:p>
                    <a:r>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729E-4A34-871C-A33E272F9973}"/>
                </c:ext>
              </c:extLst>
            </c:dLbl>
            <c:dLbl>
              <c:idx val="11"/>
              <c:tx>
                <c:rich>
                  <a:bodyPr/>
                  <a:lstStyle/>
                  <a:p>
                    <a:r>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29E-4A34-871C-A33E272F9973}"/>
                </c:ext>
              </c:extLst>
            </c:dLbl>
            <c:dLbl>
              <c:idx val="12"/>
              <c:tx>
                <c:rich>
                  <a:bodyPr/>
                  <a:lstStyle/>
                  <a:p>
                    <a:r>
                      <a:t>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729E-4A34-871C-A33E272F9973}"/>
                </c:ext>
              </c:extLst>
            </c:dLbl>
            <c:dLbl>
              <c:idx val="13"/>
              <c:tx>
                <c:rich>
                  <a:bodyPr/>
                  <a:lstStyle/>
                  <a:p>
                    <a:r>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729E-4A34-871C-A33E272F9973}"/>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alade</c:v>
                </c:pt>
                <c:pt idx="2">
                  <c:v>Classique</c:v>
                </c:pt>
                <c:pt idx="3">
                  <c:v>Chevre</c:v>
                </c:pt>
                <c:pt idx="4">
                  <c:v>Frais A Tartiner</c:v>
                </c:pt>
                <c:pt idx="5">
                  <c:v>Enfant</c:v>
                </c:pt>
                <c:pt idx="6">
                  <c:v>Rape</c:v>
                </c:pt>
                <c:pt idx="7">
                  <c:v>Aperitif</c:v>
                </c:pt>
                <c:pt idx="8">
                  <c:v>Brebis</c:v>
                </c:pt>
                <c:pt idx="9">
                  <c:v>Bloc</c:v>
                </c:pt>
                <c:pt idx="10">
                  <c:v>Specialite</c:v>
                </c:pt>
                <c:pt idx="11">
                  <c:v>Tranche A Froid</c:v>
                </c:pt>
                <c:pt idx="12">
                  <c:v>Pate Persillee</c:v>
                </c:pt>
                <c:pt idx="13">
                  <c:v>Ingredient A Chaud</c:v>
                </c:pt>
              </c:strCache>
            </c:strRef>
          </c:cat>
          <c:val>
            <c:numRef>
              <c:f>Sheet1!$B$2:$B$15</c:f>
              <c:numCache>
                <c:formatCode>General</c:formatCode>
                <c:ptCount val="14"/>
                <c:pt idx="0">
                  <c:v>1537.9494649999999</c:v>
                </c:pt>
                <c:pt idx="1">
                  <c:v>450.37244099999998</c:v>
                </c:pt>
                <c:pt idx="2">
                  <c:v>296.46293600000001</c:v>
                </c:pt>
                <c:pt idx="3">
                  <c:v>201.56516199999999</c:v>
                </c:pt>
                <c:pt idx="4">
                  <c:v>174.76834600000001</c:v>
                </c:pt>
                <c:pt idx="5">
                  <c:v>137.16738900000001</c:v>
                </c:pt>
                <c:pt idx="6">
                  <c:v>59.466858999999999</c:v>
                </c:pt>
                <c:pt idx="7">
                  <c:v>54.700437999999998</c:v>
                </c:pt>
                <c:pt idx="8">
                  <c:v>40.762295999999999</c:v>
                </c:pt>
                <c:pt idx="9">
                  <c:v>40.276411000000003</c:v>
                </c:pt>
                <c:pt idx="10">
                  <c:v>27.881792999999998</c:v>
                </c:pt>
                <c:pt idx="11">
                  <c:v>19.122785</c:v>
                </c:pt>
                <c:pt idx="12">
                  <c:v>12.511972</c:v>
                </c:pt>
                <c:pt idx="13">
                  <c:v>8.130613000000000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2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r>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F7C-46A7-A50C-32D35F29691C}"/>
                </c:ext>
              </c:extLst>
            </c:dLbl>
            <c:dLbl>
              <c:idx val="4"/>
              <c:tx>
                <c:rich>
                  <a:bodyPr/>
                  <a:lstStyle/>
                  <a:p>
                    <a:r>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F7C-46A7-A50C-32D35F29691C}"/>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F7C-46A7-A50C-32D35F29691C}"/>
                </c:ext>
              </c:extLst>
            </c:dLbl>
            <c:dLbl>
              <c:idx val="7"/>
              <c:tx>
                <c:rich>
                  <a:bodyPr/>
                  <a:lstStyle/>
                  <a:p>
                    <a:r>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F7C-46A7-A50C-32D35F29691C}"/>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F7C-46A7-A50C-32D35F29691C}"/>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F7C-46A7-A50C-32D35F29691C}"/>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F7C-46A7-A50C-32D35F29691C}"/>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F7C-46A7-A50C-32D35F29691C}"/>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F7C-46A7-A50C-32D35F29691C}"/>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F7C-46A7-A50C-32D35F29691C}"/>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alade</c:v>
                </c:pt>
                <c:pt idx="2">
                  <c:v>Classique</c:v>
                </c:pt>
                <c:pt idx="3">
                  <c:v>Chevre</c:v>
                </c:pt>
                <c:pt idx="4">
                  <c:v>Frais A Tartiner</c:v>
                </c:pt>
                <c:pt idx="5">
                  <c:v>Enfant</c:v>
                </c:pt>
                <c:pt idx="6">
                  <c:v>Rape</c:v>
                </c:pt>
                <c:pt idx="7">
                  <c:v>Aperitif</c:v>
                </c:pt>
                <c:pt idx="8">
                  <c:v>Brebis</c:v>
                </c:pt>
                <c:pt idx="9">
                  <c:v>Bloc</c:v>
                </c:pt>
                <c:pt idx="10">
                  <c:v>Specialite</c:v>
                </c:pt>
                <c:pt idx="11">
                  <c:v>Tranche A Froid</c:v>
                </c:pt>
                <c:pt idx="12">
                  <c:v>Pate Persillee</c:v>
                </c:pt>
                <c:pt idx="13">
                  <c:v>Ingredient A Chaud</c:v>
                </c:pt>
              </c:strCache>
            </c:strRef>
          </c:cat>
          <c:val>
            <c:numRef>
              <c:f>Sheet1!$B$2:$B$15</c:f>
              <c:numCache>
                <c:formatCode>General</c:formatCode>
                <c:ptCount val="14"/>
                <c:pt idx="0">
                  <c:v>26.066303000000001</c:v>
                </c:pt>
                <c:pt idx="1">
                  <c:v>4.7181249999999997</c:v>
                </c:pt>
                <c:pt idx="2">
                  <c:v>0</c:v>
                </c:pt>
                <c:pt idx="3">
                  <c:v>0</c:v>
                </c:pt>
                <c:pt idx="4">
                  <c:v>16.298169999999999</c:v>
                </c:pt>
                <c:pt idx="5">
                  <c:v>0</c:v>
                </c:pt>
                <c:pt idx="6">
                  <c:v>0</c:v>
                </c:pt>
                <c:pt idx="7">
                  <c:v>4.8266390000000001</c:v>
                </c:pt>
                <c:pt idx="8">
                  <c:v>0</c:v>
                </c:pt>
                <c:pt idx="9">
                  <c:v>0</c:v>
                </c:pt>
                <c:pt idx="10">
                  <c:v>0</c:v>
                </c:pt>
                <c:pt idx="11">
                  <c:v>0</c:v>
                </c:pt>
                <c:pt idx="12">
                  <c:v>0</c:v>
                </c:pt>
                <c:pt idx="13">
                  <c:v>0.17358199999999999</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9</c:f>
              <c:numCache>
                <c:formatCode>General</c:formatCode>
                <c:ptCount val="8"/>
                <c:pt idx="0">
                  <c:v>8.8684900128289113E-3</c:v>
                </c:pt>
                <c:pt idx="1">
                  <c:v>-5.3771294804343395E-3</c:v>
                </c:pt>
                <c:pt idx="2">
                  <c:v>-2.9712216164737848E-3</c:v>
                </c:pt>
                <c:pt idx="3">
                  <c:v>1.4593919891343898E-4</c:v>
                </c:pt>
                <c:pt idx="4">
                  <c:v>-1.4498889713340408E-3</c:v>
                </c:pt>
                <c:pt idx="5">
                  <c:v>1.195569400127855E-3</c:v>
                </c:pt>
                <c:pt idx="6">
                  <c:v>9.7375102559449714E-4</c:v>
                </c:pt>
                <c:pt idx="7">
                  <c:v>-1.3855095692225027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11</c:f>
              <c:numCache>
                <c:formatCode>General</c:formatCode>
                <c:ptCount val="10"/>
                <c:pt idx="0">
                  <c:v>6.9595117225312864E-3</c:v>
                </c:pt>
                <c:pt idx="1">
                  <c:v>-4.2236900978553649E-3</c:v>
                </c:pt>
                <c:pt idx="2">
                  <c:v>5.0424160413579527E-3</c:v>
                </c:pt>
                <c:pt idx="3">
                  <c:v>2.4100851265813975E-3</c:v>
                </c:pt>
                <c:pt idx="4">
                  <c:v>-6.7746128303535352E-3</c:v>
                </c:pt>
                <c:pt idx="5">
                  <c:v>-1.2123834071347123E-3</c:v>
                </c:pt>
                <c:pt idx="6">
                  <c:v>-3.6097008697755228E-4</c:v>
                </c:pt>
                <c:pt idx="7">
                  <c:v>-1.6027869754877098E-3</c:v>
                </c:pt>
                <c:pt idx="8">
                  <c:v>-4.2329332869304979E-3</c:v>
                </c:pt>
                <c:pt idx="9">
                  <c:v>4.7225541519288925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15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F21-4E90-A642-BE6AD2B8C28D}"/>
                </c:ext>
              </c:extLst>
            </c:dLbl>
            <c:dLbl>
              <c:idx val="1"/>
              <c:tx>
                <c:rich>
                  <a:bodyPr/>
                  <a:lstStyle/>
                  <a:p>
                    <a:r>
                      <a:t>4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2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2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F21-4E90-A642-BE6AD2B8C28D}"/>
                </c:ext>
              </c:extLst>
            </c:dLbl>
            <c:dLbl>
              <c:idx val="4"/>
              <c:tx>
                <c:rich>
                  <a:bodyPr/>
                  <a:lstStyle/>
                  <a:p>
                    <a:r>
                      <a:t>17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F21-4E90-A642-BE6AD2B8C28D}"/>
                </c:ext>
              </c:extLst>
            </c:dLbl>
            <c:dLbl>
              <c:idx val="5"/>
              <c:tx>
                <c:rich>
                  <a:bodyPr/>
                  <a:lstStyle/>
                  <a:p>
                    <a:r>
                      <a:t>1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r>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F21-4E90-A642-BE6AD2B8C28D}"/>
                </c:ext>
              </c:extLst>
            </c:dLbl>
            <c:dLbl>
              <c:idx val="7"/>
              <c:tx>
                <c:rich>
                  <a:bodyPr/>
                  <a:lstStyle/>
                  <a:p>
                    <a:r>
                      <a:t>5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F21-4E90-A642-BE6AD2B8C28D}"/>
                </c:ext>
              </c:extLst>
            </c:dLbl>
            <c:dLbl>
              <c:idx val="8"/>
              <c:tx>
                <c:rich>
                  <a:bodyPr/>
                  <a:lstStyle/>
                  <a:p>
                    <a:r>
                      <a:t>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F21-4E90-A642-BE6AD2B8C28D}"/>
                </c:ext>
              </c:extLst>
            </c:dLbl>
            <c:dLbl>
              <c:idx val="9"/>
              <c:tx>
                <c:rich>
                  <a:bodyPr/>
                  <a:lstStyle/>
                  <a:p>
                    <a:r>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F21-4E90-A642-BE6AD2B8C28D}"/>
                </c:ext>
              </c:extLst>
            </c:dLbl>
            <c:dLbl>
              <c:idx val="10"/>
              <c:tx>
                <c:rich>
                  <a:bodyPr/>
                  <a:lstStyle/>
                  <a:p>
                    <a:r>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F21-4E90-A642-BE6AD2B8C28D}"/>
                </c:ext>
              </c:extLst>
            </c:dLbl>
            <c:dLbl>
              <c:idx val="11"/>
              <c:tx>
                <c:rich>
                  <a:bodyPr/>
                  <a:lstStyle/>
                  <a:p>
                    <a:r>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F21-4E90-A642-BE6AD2B8C28D}"/>
                </c:ext>
              </c:extLst>
            </c:dLbl>
            <c:dLbl>
              <c:idx val="12"/>
              <c:tx>
                <c:rich>
                  <a:bodyPr/>
                  <a:lstStyle/>
                  <a:p>
                    <a:r>
                      <a:t>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5F21-4E90-A642-BE6AD2B8C28D}"/>
                </c:ext>
              </c:extLst>
            </c:dLbl>
            <c:dLbl>
              <c:idx val="13"/>
              <c:tx>
                <c:rich>
                  <a:bodyPr/>
                  <a:lstStyle/>
                  <a:p>
                    <a:r>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5F21-4E90-A642-BE6AD2B8C28D}"/>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alade</c:v>
                </c:pt>
                <c:pt idx="2">
                  <c:v>Classique</c:v>
                </c:pt>
                <c:pt idx="3">
                  <c:v>Chevre</c:v>
                </c:pt>
                <c:pt idx="4">
                  <c:v>Frais A Tartiner</c:v>
                </c:pt>
                <c:pt idx="5">
                  <c:v>Enfant</c:v>
                </c:pt>
                <c:pt idx="6">
                  <c:v>Rape</c:v>
                </c:pt>
                <c:pt idx="7">
                  <c:v>Aperitif</c:v>
                </c:pt>
                <c:pt idx="8">
                  <c:v>Brebis</c:v>
                </c:pt>
                <c:pt idx="9">
                  <c:v>Bloc</c:v>
                </c:pt>
                <c:pt idx="10">
                  <c:v>Specialite</c:v>
                </c:pt>
                <c:pt idx="11">
                  <c:v>Tranche A Froid</c:v>
                </c:pt>
                <c:pt idx="12">
                  <c:v>Pate Persillee</c:v>
                </c:pt>
                <c:pt idx="13">
                  <c:v>Ingredient A Chaud</c:v>
                </c:pt>
              </c:strCache>
            </c:strRef>
          </c:cat>
          <c:val>
            <c:numRef>
              <c:f>Sheet1!$B$2:$B$15</c:f>
              <c:numCache>
                <c:formatCode>General</c:formatCode>
                <c:ptCount val="14"/>
                <c:pt idx="0">
                  <c:v>1537.9494649999999</c:v>
                </c:pt>
                <c:pt idx="1">
                  <c:v>450.37244099999998</c:v>
                </c:pt>
                <c:pt idx="2">
                  <c:v>296.46293600000001</c:v>
                </c:pt>
                <c:pt idx="3">
                  <c:v>201.56516199999999</c:v>
                </c:pt>
                <c:pt idx="4">
                  <c:v>174.76834600000001</c:v>
                </c:pt>
                <c:pt idx="5">
                  <c:v>137.16738900000001</c:v>
                </c:pt>
                <c:pt idx="6">
                  <c:v>59.466858999999999</c:v>
                </c:pt>
                <c:pt idx="7">
                  <c:v>54.700437999999998</c:v>
                </c:pt>
                <c:pt idx="8">
                  <c:v>40.762295999999999</c:v>
                </c:pt>
                <c:pt idx="9">
                  <c:v>40.276411000000003</c:v>
                </c:pt>
                <c:pt idx="10">
                  <c:v>27.881792999999998</c:v>
                </c:pt>
                <c:pt idx="11">
                  <c:v>19.122785</c:v>
                </c:pt>
                <c:pt idx="12">
                  <c:v>12.511972</c:v>
                </c:pt>
                <c:pt idx="13">
                  <c:v>8.130613000000000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16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r>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A3D-44C0-9AEE-CC3E3BD4ED09}"/>
                </c:ext>
              </c:extLst>
            </c:dLbl>
            <c:dLbl>
              <c:idx val="4"/>
              <c:tx>
                <c:rich>
                  <a:bodyPr/>
                  <a:lstStyle/>
                  <a:p>
                    <a:r>
                      <a:t>1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A3D-44C0-9AEE-CC3E3BD4ED09}"/>
                </c:ext>
              </c:extLst>
            </c:dLbl>
            <c:dLbl>
              <c:idx val="5"/>
              <c:tx>
                <c:rich>
                  <a:bodyPr/>
                  <a:lstStyle/>
                  <a:p>
                    <a:r>
                      <a:t>10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A3D-44C0-9AEE-CC3E3BD4ED09}"/>
                </c:ext>
              </c:extLst>
            </c:dLbl>
            <c:dLbl>
              <c:idx val="7"/>
              <c:tx>
                <c:rich>
                  <a:bodyPr/>
                  <a:lstStyle/>
                  <a:p>
                    <a:r>
                      <a:t>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A3D-44C0-9AEE-CC3E3BD4ED09}"/>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A3D-44C0-9AEE-CC3E3BD4ED09}"/>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A3D-44C0-9AEE-CC3E3BD4ED09}"/>
                </c:ext>
              </c:extLst>
            </c:dLbl>
            <c:dLbl>
              <c:idx val="10"/>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A3D-44C0-9AEE-CC3E3BD4ED09}"/>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A3D-44C0-9AEE-CC3E3BD4ED09}"/>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A3D-44C0-9AEE-CC3E3BD4ED09}"/>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DA3D-44C0-9AEE-CC3E3BD4ED09}"/>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alade</c:v>
                </c:pt>
                <c:pt idx="2">
                  <c:v>Classique</c:v>
                </c:pt>
                <c:pt idx="3">
                  <c:v>Chevre</c:v>
                </c:pt>
                <c:pt idx="4">
                  <c:v>Frais A Tartiner</c:v>
                </c:pt>
                <c:pt idx="5">
                  <c:v>Enfant</c:v>
                </c:pt>
                <c:pt idx="6">
                  <c:v>Rape</c:v>
                </c:pt>
                <c:pt idx="7">
                  <c:v>Aperitif</c:v>
                </c:pt>
                <c:pt idx="8">
                  <c:v>Brebis</c:v>
                </c:pt>
                <c:pt idx="9">
                  <c:v>Bloc</c:v>
                </c:pt>
                <c:pt idx="10">
                  <c:v>Specialite</c:v>
                </c:pt>
                <c:pt idx="11">
                  <c:v>Tranche A Froid</c:v>
                </c:pt>
                <c:pt idx="12">
                  <c:v>Pate Persillee</c:v>
                </c:pt>
                <c:pt idx="13">
                  <c:v>Ingredient A Chaud</c:v>
                </c:pt>
              </c:strCache>
            </c:strRef>
          </c:cat>
          <c:val>
            <c:numRef>
              <c:f>Sheet1!$B$2:$B$15</c:f>
              <c:numCache>
                <c:formatCode>General</c:formatCode>
                <c:ptCount val="14"/>
                <c:pt idx="0">
                  <c:v>161.36437100000001</c:v>
                </c:pt>
                <c:pt idx="1">
                  <c:v>4.7181249999999997</c:v>
                </c:pt>
                <c:pt idx="2">
                  <c:v>0</c:v>
                </c:pt>
                <c:pt idx="3">
                  <c:v>0</c:v>
                </c:pt>
                <c:pt idx="4">
                  <c:v>17.556623999999999</c:v>
                </c:pt>
                <c:pt idx="5">
                  <c:v>99.993318000000002</c:v>
                </c:pt>
                <c:pt idx="6">
                  <c:v>0</c:v>
                </c:pt>
                <c:pt idx="7">
                  <c:v>36.938121000000002</c:v>
                </c:pt>
                <c:pt idx="8">
                  <c:v>2.4190000000000001E-3</c:v>
                </c:pt>
                <c:pt idx="9">
                  <c:v>1.768E-3</c:v>
                </c:pt>
                <c:pt idx="10">
                  <c:v>1.12608</c:v>
                </c:pt>
                <c:pt idx="11">
                  <c:v>2.4510000000000001E-3</c:v>
                </c:pt>
                <c:pt idx="12">
                  <c:v>0</c:v>
                </c:pt>
                <c:pt idx="13">
                  <c:v>0.17362900000000001</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2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DD0-42C7-8900-4BDBC785FE3B}"/>
                </c:ext>
              </c:extLst>
            </c:dLbl>
            <c:dLbl>
              <c:idx val="1"/>
              <c:tx>
                <c:rich>
                  <a:bodyPr/>
                  <a:lstStyle/>
                  <a:p>
                    <a:r>
                      <a:t>8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4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DD0-42C7-8900-4BDBC785FE3B}"/>
                </c:ext>
              </c:extLst>
            </c:dLbl>
            <c:dLbl>
              <c:idx val="4"/>
              <c:tx>
                <c:rich>
                  <a:bodyPr/>
                  <a:lstStyle/>
                  <a:p>
                    <a:r>
                      <a:t>3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DD0-42C7-8900-4BDBC785FE3B}"/>
                </c:ext>
              </c:extLst>
            </c:dLbl>
            <c:dLbl>
              <c:idx val="5"/>
              <c:tx>
                <c:rich>
                  <a:bodyPr/>
                  <a:lstStyle/>
                  <a:p>
                    <a:r>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r>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DD0-42C7-8900-4BDBC785FE3B}"/>
                </c:ext>
              </c:extLst>
            </c:dLbl>
            <c:dLbl>
              <c:idx val="7"/>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DD0-42C7-8900-4BDBC785FE3B}"/>
                </c:ext>
              </c:extLst>
            </c:dLbl>
            <c:dLbl>
              <c:idx val="8"/>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DD0-42C7-8900-4BDBC785FE3B}"/>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DD0-42C7-8900-4BDBC785FE3B}"/>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DD0-42C7-8900-4BDBC785FE3B}"/>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3DD0-42C7-8900-4BDBC785FE3B}"/>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3DD0-42C7-8900-4BDBC785FE3B}"/>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3DD0-42C7-8900-4BDBC785FE3B}"/>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alade</c:v>
                </c:pt>
                <c:pt idx="2">
                  <c:v>Classique</c:v>
                </c:pt>
                <c:pt idx="3">
                  <c:v>Chevre</c:v>
                </c:pt>
                <c:pt idx="4">
                  <c:v>Frais A Tartiner</c:v>
                </c:pt>
                <c:pt idx="5">
                  <c:v>Enfant</c:v>
                </c:pt>
                <c:pt idx="6">
                  <c:v>Aperitif</c:v>
                </c:pt>
                <c:pt idx="7">
                  <c:v>Brebis</c:v>
                </c:pt>
                <c:pt idx="8">
                  <c:v>Alternative Vegetale</c:v>
                </c:pt>
                <c:pt idx="9">
                  <c:v>Bloc</c:v>
                </c:pt>
                <c:pt idx="10">
                  <c:v>Specialite</c:v>
                </c:pt>
                <c:pt idx="11">
                  <c:v>Tranche A Froid</c:v>
                </c:pt>
                <c:pt idx="12">
                  <c:v>Dessert</c:v>
                </c:pt>
                <c:pt idx="13">
                  <c:v>Rape</c:v>
                </c:pt>
              </c:strCache>
            </c:strRef>
          </c:cat>
          <c:val>
            <c:numRef>
              <c:f>Sheet1!$B$2:$B$15</c:f>
              <c:numCache>
                <c:formatCode>General</c:formatCode>
                <c:ptCount val="14"/>
                <c:pt idx="0">
                  <c:v>233.13574600000001</c:v>
                </c:pt>
                <c:pt idx="1">
                  <c:v>79.861894000000007</c:v>
                </c:pt>
                <c:pt idx="2">
                  <c:v>48.841391999999999</c:v>
                </c:pt>
                <c:pt idx="3">
                  <c:v>32.969683000000003</c:v>
                </c:pt>
                <c:pt idx="4">
                  <c:v>29.660077999999999</c:v>
                </c:pt>
                <c:pt idx="5">
                  <c:v>24.183221</c:v>
                </c:pt>
                <c:pt idx="6">
                  <c:v>10.303675</c:v>
                </c:pt>
                <c:pt idx="7">
                  <c:v>6.3748480000000001</c:v>
                </c:pt>
                <c:pt idx="8">
                  <c:v>0.94095499999999999</c:v>
                </c:pt>
                <c:pt idx="9">
                  <c:v>0</c:v>
                </c:pt>
                <c:pt idx="10">
                  <c:v>0</c:v>
                </c:pt>
                <c:pt idx="11">
                  <c:v>0</c:v>
                </c:pt>
                <c:pt idx="12">
                  <c:v>0</c:v>
                </c:pt>
                <c:pt idx="13">
                  <c:v>0</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60C-4F26-9DA3-2A2DB64E56DC}"/>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60C-4F26-9DA3-2A2DB64E56DC}"/>
                </c:ext>
              </c:extLst>
            </c:dLbl>
            <c:dLbl>
              <c:idx val="5"/>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60C-4F26-9DA3-2A2DB64E56DC}"/>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60C-4F26-9DA3-2A2DB64E56DC}"/>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60C-4F26-9DA3-2A2DB64E56DC}"/>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60C-4F26-9DA3-2A2DB64E56DC}"/>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60C-4F26-9DA3-2A2DB64E56DC}"/>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60C-4F26-9DA3-2A2DB64E56DC}"/>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60C-4F26-9DA3-2A2DB64E56DC}"/>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60C-4F26-9DA3-2A2DB64E56DC}"/>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alade</c:v>
                </c:pt>
                <c:pt idx="2">
                  <c:v>Classique</c:v>
                </c:pt>
                <c:pt idx="3">
                  <c:v>Chevre</c:v>
                </c:pt>
                <c:pt idx="4">
                  <c:v>Frais A Tartiner</c:v>
                </c:pt>
                <c:pt idx="5">
                  <c:v>Enfant</c:v>
                </c:pt>
                <c:pt idx="6">
                  <c:v>Aperitif</c:v>
                </c:pt>
                <c:pt idx="7">
                  <c:v>Brebis</c:v>
                </c:pt>
                <c:pt idx="8">
                  <c:v>Alternative Vegetale</c:v>
                </c:pt>
                <c:pt idx="9">
                  <c:v>Bloc</c:v>
                </c:pt>
                <c:pt idx="10">
                  <c:v>Specialite</c:v>
                </c:pt>
                <c:pt idx="11">
                  <c:v>Tranche A Froid</c:v>
                </c:pt>
                <c:pt idx="12">
                  <c:v>Dessert</c:v>
                </c:pt>
                <c:pt idx="13">
                  <c:v>Rape</c:v>
                </c:pt>
              </c:strCache>
            </c:strRef>
          </c:cat>
          <c:val>
            <c:numRef>
              <c:f>Sheet1!$B$2:$B$15</c:f>
              <c:numCache>
                <c:formatCode>General</c:formatCode>
                <c:ptCount val="14"/>
                <c:pt idx="0">
                  <c:v>5.831683</c:v>
                </c:pt>
                <c:pt idx="1">
                  <c:v>0</c:v>
                </c:pt>
                <c:pt idx="2">
                  <c:v>0</c:v>
                </c:pt>
                <c:pt idx="3">
                  <c:v>0</c:v>
                </c:pt>
                <c:pt idx="4">
                  <c:v>0.30686600000000003</c:v>
                </c:pt>
                <c:pt idx="5">
                  <c:v>5.5248169999999996</c:v>
                </c:pt>
                <c:pt idx="6">
                  <c:v>0</c:v>
                </c:pt>
                <c:pt idx="7">
                  <c:v>0</c:v>
                </c:pt>
                <c:pt idx="8">
                  <c:v>0</c:v>
                </c:pt>
                <c:pt idx="9">
                  <c:v>0</c:v>
                </c:pt>
                <c:pt idx="10">
                  <c:v>0</c:v>
                </c:pt>
                <c:pt idx="11">
                  <c:v>0</c:v>
                </c:pt>
                <c:pt idx="12">
                  <c:v>0</c:v>
                </c:pt>
                <c:pt idx="13">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2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FCF-40BD-946C-468EF12F5663}"/>
                </c:ext>
              </c:extLst>
            </c:dLbl>
            <c:dLbl>
              <c:idx val="1"/>
              <c:tx>
                <c:rich>
                  <a:bodyPr/>
                  <a:lstStyle/>
                  <a:p>
                    <a:r>
                      <a:t>8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4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FCF-40BD-946C-468EF12F5663}"/>
                </c:ext>
              </c:extLst>
            </c:dLbl>
            <c:dLbl>
              <c:idx val="4"/>
              <c:tx>
                <c:rich>
                  <a:bodyPr/>
                  <a:lstStyle/>
                  <a:p>
                    <a:r>
                      <a:t>3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FCF-40BD-946C-468EF12F5663}"/>
                </c:ext>
              </c:extLst>
            </c:dLbl>
            <c:dLbl>
              <c:idx val="5"/>
              <c:tx>
                <c:rich>
                  <a:bodyPr/>
                  <a:lstStyle/>
                  <a:p>
                    <a:r>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r>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FCF-40BD-946C-468EF12F5663}"/>
                </c:ext>
              </c:extLst>
            </c:dLbl>
            <c:dLbl>
              <c:idx val="7"/>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FCF-40BD-946C-468EF12F5663}"/>
                </c:ext>
              </c:extLst>
            </c:dLbl>
            <c:dLbl>
              <c:idx val="8"/>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FCF-40BD-946C-468EF12F5663}"/>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FCF-40BD-946C-468EF12F5663}"/>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FCF-40BD-946C-468EF12F5663}"/>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FCF-40BD-946C-468EF12F5663}"/>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FCF-40BD-946C-468EF12F5663}"/>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FCF-40BD-946C-468EF12F5663}"/>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alade</c:v>
                </c:pt>
                <c:pt idx="2">
                  <c:v>Classique</c:v>
                </c:pt>
                <c:pt idx="3">
                  <c:v>Chevre</c:v>
                </c:pt>
                <c:pt idx="4">
                  <c:v>Frais A Tartiner</c:v>
                </c:pt>
                <c:pt idx="5">
                  <c:v>Enfant</c:v>
                </c:pt>
                <c:pt idx="6">
                  <c:v>Aperitif</c:v>
                </c:pt>
                <c:pt idx="7">
                  <c:v>Brebis</c:v>
                </c:pt>
                <c:pt idx="8">
                  <c:v>Alternative Vegetale</c:v>
                </c:pt>
                <c:pt idx="9">
                  <c:v>Bloc</c:v>
                </c:pt>
                <c:pt idx="10">
                  <c:v>Specialite</c:v>
                </c:pt>
                <c:pt idx="11">
                  <c:v>Tranche A Froid</c:v>
                </c:pt>
                <c:pt idx="12">
                  <c:v>Dessert</c:v>
                </c:pt>
                <c:pt idx="13">
                  <c:v>Rape</c:v>
                </c:pt>
              </c:strCache>
            </c:strRef>
          </c:cat>
          <c:val>
            <c:numRef>
              <c:f>Sheet1!$B$2:$B$15</c:f>
              <c:numCache>
                <c:formatCode>General</c:formatCode>
                <c:ptCount val="14"/>
                <c:pt idx="0">
                  <c:v>233.13574600000001</c:v>
                </c:pt>
                <c:pt idx="1">
                  <c:v>79.861894000000007</c:v>
                </c:pt>
                <c:pt idx="2">
                  <c:v>48.841391999999999</c:v>
                </c:pt>
                <c:pt idx="3">
                  <c:v>32.969683000000003</c:v>
                </c:pt>
                <c:pt idx="4">
                  <c:v>29.660077999999999</c:v>
                </c:pt>
                <c:pt idx="5">
                  <c:v>24.183221</c:v>
                </c:pt>
                <c:pt idx="6">
                  <c:v>10.303675</c:v>
                </c:pt>
                <c:pt idx="7">
                  <c:v>6.3748480000000001</c:v>
                </c:pt>
                <c:pt idx="8">
                  <c:v>0.94095499999999999</c:v>
                </c:pt>
                <c:pt idx="9">
                  <c:v>0</c:v>
                </c:pt>
                <c:pt idx="10">
                  <c:v>0</c:v>
                </c:pt>
                <c:pt idx="11">
                  <c:v>0</c:v>
                </c:pt>
                <c:pt idx="12">
                  <c:v>0</c:v>
                </c:pt>
                <c:pt idx="13">
                  <c:v>0</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537-41F5-845E-1AFC2C78A0A6}"/>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537-41F5-845E-1AFC2C78A0A6}"/>
                </c:ext>
              </c:extLst>
            </c:dLbl>
            <c:dLbl>
              <c:idx val="5"/>
              <c:tx>
                <c:rich>
                  <a:bodyPr/>
                  <a:lstStyle/>
                  <a:p>
                    <a:r>
                      <a:t>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537-41F5-845E-1AFC2C78A0A6}"/>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537-41F5-845E-1AFC2C78A0A6}"/>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537-41F5-845E-1AFC2C78A0A6}"/>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537-41F5-845E-1AFC2C78A0A6}"/>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8537-41F5-845E-1AFC2C78A0A6}"/>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537-41F5-845E-1AFC2C78A0A6}"/>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8537-41F5-845E-1AFC2C78A0A6}"/>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537-41F5-845E-1AFC2C78A0A6}"/>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alade</c:v>
                </c:pt>
                <c:pt idx="2">
                  <c:v>Classique</c:v>
                </c:pt>
                <c:pt idx="3">
                  <c:v>Chevre</c:v>
                </c:pt>
                <c:pt idx="4">
                  <c:v>Frais A Tartiner</c:v>
                </c:pt>
                <c:pt idx="5">
                  <c:v>Enfant</c:v>
                </c:pt>
                <c:pt idx="6">
                  <c:v>Aperitif</c:v>
                </c:pt>
                <c:pt idx="7">
                  <c:v>Brebis</c:v>
                </c:pt>
                <c:pt idx="8">
                  <c:v>Alternative Vegetale</c:v>
                </c:pt>
                <c:pt idx="9">
                  <c:v>Bloc</c:v>
                </c:pt>
                <c:pt idx="10">
                  <c:v>Specialite</c:v>
                </c:pt>
                <c:pt idx="11">
                  <c:v>Tranche A Froid</c:v>
                </c:pt>
                <c:pt idx="12">
                  <c:v>Dessert</c:v>
                </c:pt>
                <c:pt idx="13">
                  <c:v>Rape</c:v>
                </c:pt>
              </c:strCache>
            </c:strRef>
          </c:cat>
          <c:val>
            <c:numRef>
              <c:f>Sheet1!$B$2:$B$15</c:f>
              <c:numCache>
                <c:formatCode>General</c:formatCode>
                <c:ptCount val="14"/>
                <c:pt idx="0">
                  <c:v>6.741136</c:v>
                </c:pt>
                <c:pt idx="1">
                  <c:v>0</c:v>
                </c:pt>
                <c:pt idx="2">
                  <c:v>0</c:v>
                </c:pt>
                <c:pt idx="3">
                  <c:v>0</c:v>
                </c:pt>
                <c:pt idx="4">
                  <c:v>2.5999999999999998E-5</c:v>
                </c:pt>
                <c:pt idx="5">
                  <c:v>6.7411099999999999</c:v>
                </c:pt>
                <c:pt idx="6">
                  <c:v>0</c:v>
                </c:pt>
                <c:pt idx="7">
                  <c:v>0</c:v>
                </c:pt>
                <c:pt idx="8">
                  <c:v>0</c:v>
                </c:pt>
                <c:pt idx="9">
                  <c:v>0</c:v>
                </c:pt>
                <c:pt idx="10">
                  <c:v>0</c:v>
                </c:pt>
                <c:pt idx="11">
                  <c:v>0</c:v>
                </c:pt>
                <c:pt idx="12">
                  <c:v>0</c:v>
                </c:pt>
                <c:pt idx="13">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2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739-40A9-97ED-2EAC9A42FB91}"/>
                </c:ext>
              </c:extLst>
            </c:dLbl>
            <c:dLbl>
              <c:idx val="1"/>
              <c:tx>
                <c:rich>
                  <a:bodyPr/>
                  <a:lstStyle/>
                  <a:p>
                    <a:r>
                      <a:t>8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4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739-40A9-97ED-2EAC9A42FB91}"/>
                </c:ext>
              </c:extLst>
            </c:dLbl>
            <c:dLbl>
              <c:idx val="4"/>
              <c:tx>
                <c:rich>
                  <a:bodyPr/>
                  <a:lstStyle/>
                  <a:p>
                    <a:r>
                      <a:t>3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739-40A9-97ED-2EAC9A42FB91}"/>
                </c:ext>
              </c:extLst>
            </c:dLbl>
            <c:dLbl>
              <c:idx val="5"/>
              <c:tx>
                <c:rich>
                  <a:bodyPr/>
                  <a:lstStyle/>
                  <a:p>
                    <a:r>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r>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739-40A9-97ED-2EAC9A42FB91}"/>
                </c:ext>
              </c:extLst>
            </c:dLbl>
            <c:dLbl>
              <c:idx val="7"/>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739-40A9-97ED-2EAC9A42FB91}"/>
                </c:ext>
              </c:extLst>
            </c:dLbl>
            <c:dLbl>
              <c:idx val="8"/>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0739-40A9-97ED-2EAC9A42FB91}"/>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0739-40A9-97ED-2EAC9A42FB91}"/>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0739-40A9-97ED-2EAC9A42FB91}"/>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0739-40A9-97ED-2EAC9A42FB91}"/>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0739-40A9-97ED-2EAC9A42FB91}"/>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0739-40A9-97ED-2EAC9A42FB91}"/>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alade</c:v>
                </c:pt>
                <c:pt idx="2">
                  <c:v>Classique</c:v>
                </c:pt>
                <c:pt idx="3">
                  <c:v>Chevre</c:v>
                </c:pt>
                <c:pt idx="4">
                  <c:v>Frais A Tartiner</c:v>
                </c:pt>
                <c:pt idx="5">
                  <c:v>Enfant</c:v>
                </c:pt>
                <c:pt idx="6">
                  <c:v>Aperitif</c:v>
                </c:pt>
                <c:pt idx="7">
                  <c:v>Brebis</c:v>
                </c:pt>
                <c:pt idx="8">
                  <c:v>Alternative Vegetale</c:v>
                </c:pt>
                <c:pt idx="9">
                  <c:v>Bloc</c:v>
                </c:pt>
                <c:pt idx="10">
                  <c:v>Specialite</c:v>
                </c:pt>
                <c:pt idx="11">
                  <c:v>Tranche A Froid</c:v>
                </c:pt>
                <c:pt idx="12">
                  <c:v>Dessert</c:v>
                </c:pt>
                <c:pt idx="13">
                  <c:v>Rape</c:v>
                </c:pt>
              </c:strCache>
            </c:strRef>
          </c:cat>
          <c:val>
            <c:numRef>
              <c:f>Sheet1!$B$2:$B$15</c:f>
              <c:numCache>
                <c:formatCode>General</c:formatCode>
                <c:ptCount val="14"/>
                <c:pt idx="0">
                  <c:v>233.13574600000001</c:v>
                </c:pt>
                <c:pt idx="1">
                  <c:v>79.861894000000007</c:v>
                </c:pt>
                <c:pt idx="2">
                  <c:v>48.841391999999999</c:v>
                </c:pt>
                <c:pt idx="3">
                  <c:v>32.969683000000003</c:v>
                </c:pt>
                <c:pt idx="4">
                  <c:v>29.660077999999999</c:v>
                </c:pt>
                <c:pt idx="5">
                  <c:v>24.183221</c:v>
                </c:pt>
                <c:pt idx="6">
                  <c:v>10.303675</c:v>
                </c:pt>
                <c:pt idx="7">
                  <c:v>6.3748480000000001</c:v>
                </c:pt>
                <c:pt idx="8">
                  <c:v>0.94095499999999999</c:v>
                </c:pt>
                <c:pt idx="9">
                  <c:v>0</c:v>
                </c:pt>
                <c:pt idx="10">
                  <c:v>0</c:v>
                </c:pt>
                <c:pt idx="11">
                  <c:v>0</c:v>
                </c:pt>
                <c:pt idx="12">
                  <c:v>0</c:v>
                </c:pt>
                <c:pt idx="13">
                  <c:v>0</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C69-4404-91C9-55895031BD19}"/>
                </c:ext>
              </c:extLst>
            </c:dLbl>
            <c:dLbl>
              <c:idx val="4"/>
              <c:tx>
                <c:rich>
                  <a:bodyPr/>
                  <a:lstStyle/>
                  <a:p>
                    <a:r>
                      <a:t>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C69-4404-91C9-55895031BD19}"/>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C69-4404-91C9-55895031BD19}"/>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C69-4404-91C9-55895031BD19}"/>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C69-4404-91C9-55895031BD19}"/>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C69-4404-91C9-55895031BD19}"/>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C69-4404-91C9-55895031BD19}"/>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C69-4404-91C9-55895031BD19}"/>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C69-4404-91C9-55895031BD19}"/>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DC69-4404-91C9-55895031BD19}"/>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alade</c:v>
                </c:pt>
                <c:pt idx="2">
                  <c:v>Classique</c:v>
                </c:pt>
                <c:pt idx="3">
                  <c:v>Chevre</c:v>
                </c:pt>
                <c:pt idx="4">
                  <c:v>Frais A Tartiner</c:v>
                </c:pt>
                <c:pt idx="5">
                  <c:v>Enfant</c:v>
                </c:pt>
                <c:pt idx="6">
                  <c:v>Aperitif</c:v>
                </c:pt>
                <c:pt idx="7">
                  <c:v>Brebis</c:v>
                </c:pt>
                <c:pt idx="8">
                  <c:v>Alternative Vegetale</c:v>
                </c:pt>
                <c:pt idx="9">
                  <c:v>Bloc</c:v>
                </c:pt>
                <c:pt idx="10">
                  <c:v>Specialite</c:v>
                </c:pt>
                <c:pt idx="11">
                  <c:v>Tranche A Froid</c:v>
                </c:pt>
                <c:pt idx="12">
                  <c:v>Dessert</c:v>
                </c:pt>
                <c:pt idx="13">
                  <c:v>Rape</c:v>
                </c:pt>
              </c:strCache>
            </c:strRef>
          </c:cat>
          <c:val>
            <c:numRef>
              <c:f>Sheet1!$B$2:$B$15</c:f>
              <c:numCache>
                <c:formatCode>General</c:formatCode>
                <c:ptCount val="14"/>
                <c:pt idx="0">
                  <c:v>5.3963190000000001</c:v>
                </c:pt>
                <c:pt idx="1">
                  <c:v>1.2893399999999999</c:v>
                </c:pt>
                <c:pt idx="2">
                  <c:v>0</c:v>
                </c:pt>
                <c:pt idx="3">
                  <c:v>0</c:v>
                </c:pt>
                <c:pt idx="4">
                  <c:v>3.0358999999999998</c:v>
                </c:pt>
                <c:pt idx="5">
                  <c:v>0</c:v>
                </c:pt>
                <c:pt idx="6">
                  <c:v>1.030688</c:v>
                </c:pt>
                <c:pt idx="7">
                  <c:v>0</c:v>
                </c:pt>
                <c:pt idx="8">
                  <c:v>0</c:v>
                </c:pt>
                <c:pt idx="9">
                  <c:v>0</c:v>
                </c:pt>
                <c:pt idx="10">
                  <c:v>0</c:v>
                </c:pt>
                <c:pt idx="11">
                  <c:v>0</c:v>
                </c:pt>
                <c:pt idx="12">
                  <c:v>0</c:v>
                </c:pt>
                <c:pt idx="13">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2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A04-44B7-A997-C7FF57DB3C06}"/>
                </c:ext>
              </c:extLst>
            </c:dLbl>
            <c:dLbl>
              <c:idx val="1"/>
              <c:tx>
                <c:rich>
                  <a:bodyPr/>
                  <a:lstStyle/>
                  <a:p>
                    <a:r>
                      <a:t>8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4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A04-44B7-A997-C7FF57DB3C06}"/>
                </c:ext>
              </c:extLst>
            </c:dLbl>
            <c:dLbl>
              <c:idx val="4"/>
              <c:tx>
                <c:rich>
                  <a:bodyPr/>
                  <a:lstStyle/>
                  <a:p>
                    <a:r>
                      <a:t>3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A04-44B7-A997-C7FF57DB3C06}"/>
                </c:ext>
              </c:extLst>
            </c:dLbl>
            <c:dLbl>
              <c:idx val="5"/>
              <c:tx>
                <c:rich>
                  <a:bodyPr/>
                  <a:lstStyle/>
                  <a:p>
                    <a:r>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r>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A04-44B7-A997-C7FF57DB3C06}"/>
                </c:ext>
              </c:extLst>
            </c:dLbl>
            <c:dLbl>
              <c:idx val="7"/>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A04-44B7-A997-C7FF57DB3C06}"/>
                </c:ext>
              </c:extLst>
            </c:dLbl>
            <c:dLbl>
              <c:idx val="8"/>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A04-44B7-A997-C7FF57DB3C06}"/>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A04-44B7-A997-C7FF57DB3C06}"/>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A04-44B7-A997-C7FF57DB3C06}"/>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A04-44B7-A997-C7FF57DB3C06}"/>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A04-44B7-A997-C7FF57DB3C06}"/>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A04-44B7-A997-C7FF57DB3C06}"/>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alade</c:v>
                </c:pt>
                <c:pt idx="2">
                  <c:v>Classique</c:v>
                </c:pt>
                <c:pt idx="3">
                  <c:v>Chevre</c:v>
                </c:pt>
                <c:pt idx="4">
                  <c:v>Frais A Tartiner</c:v>
                </c:pt>
                <c:pt idx="5">
                  <c:v>Enfant</c:v>
                </c:pt>
                <c:pt idx="6">
                  <c:v>Aperitif</c:v>
                </c:pt>
                <c:pt idx="7">
                  <c:v>Brebis</c:v>
                </c:pt>
                <c:pt idx="8">
                  <c:v>Alternative Vegetale</c:v>
                </c:pt>
                <c:pt idx="9">
                  <c:v>Bloc</c:v>
                </c:pt>
                <c:pt idx="10">
                  <c:v>Specialite</c:v>
                </c:pt>
                <c:pt idx="11">
                  <c:v>Tranche A Froid</c:v>
                </c:pt>
                <c:pt idx="12">
                  <c:v>Dessert</c:v>
                </c:pt>
                <c:pt idx="13">
                  <c:v>Rape</c:v>
                </c:pt>
              </c:strCache>
            </c:strRef>
          </c:cat>
          <c:val>
            <c:numRef>
              <c:f>Sheet1!$B$2:$B$15</c:f>
              <c:numCache>
                <c:formatCode>General</c:formatCode>
                <c:ptCount val="14"/>
                <c:pt idx="0">
                  <c:v>233.13574600000001</c:v>
                </c:pt>
                <c:pt idx="1">
                  <c:v>79.861894000000007</c:v>
                </c:pt>
                <c:pt idx="2">
                  <c:v>48.841391999999999</c:v>
                </c:pt>
                <c:pt idx="3">
                  <c:v>32.969683000000003</c:v>
                </c:pt>
                <c:pt idx="4">
                  <c:v>29.660077999999999</c:v>
                </c:pt>
                <c:pt idx="5">
                  <c:v>24.183221</c:v>
                </c:pt>
                <c:pt idx="6">
                  <c:v>10.303675</c:v>
                </c:pt>
                <c:pt idx="7">
                  <c:v>6.3748480000000001</c:v>
                </c:pt>
                <c:pt idx="8">
                  <c:v>0.94095499999999999</c:v>
                </c:pt>
                <c:pt idx="9">
                  <c:v>0</c:v>
                </c:pt>
                <c:pt idx="10">
                  <c:v>0</c:v>
                </c:pt>
                <c:pt idx="11">
                  <c:v>0</c:v>
                </c:pt>
                <c:pt idx="12">
                  <c:v>0</c:v>
                </c:pt>
                <c:pt idx="13">
                  <c:v>0</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7E1-45E6-8449-79E9B8DC487B}"/>
                </c:ext>
              </c:extLst>
            </c:dLbl>
            <c:dLbl>
              <c:idx val="4"/>
              <c:tx>
                <c:rich>
                  <a:bodyPr/>
                  <a:lstStyle/>
                  <a:p>
                    <a:r>
                      <a:t>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7E1-45E6-8449-79E9B8DC487B}"/>
                </c:ext>
              </c:extLst>
            </c:dLbl>
            <c:dLbl>
              <c:idx val="5"/>
              <c:tx>
                <c:rich>
                  <a:bodyPr/>
                  <a:lstStyle/>
                  <a:p>
                    <a:r>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r>
                      <a:t>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7E1-45E6-8449-79E9B8DC487B}"/>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7E1-45E6-8449-79E9B8DC487B}"/>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7E1-45E6-8449-79E9B8DC487B}"/>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7E1-45E6-8449-79E9B8DC487B}"/>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87E1-45E6-8449-79E9B8DC487B}"/>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7E1-45E6-8449-79E9B8DC487B}"/>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87E1-45E6-8449-79E9B8DC487B}"/>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7E1-45E6-8449-79E9B8DC487B}"/>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Salade</c:v>
                </c:pt>
                <c:pt idx="2">
                  <c:v>Classique</c:v>
                </c:pt>
                <c:pt idx="3">
                  <c:v>Chevre</c:v>
                </c:pt>
                <c:pt idx="4">
                  <c:v>Frais A Tartiner</c:v>
                </c:pt>
                <c:pt idx="5">
                  <c:v>Enfant</c:v>
                </c:pt>
                <c:pt idx="6">
                  <c:v>Aperitif</c:v>
                </c:pt>
                <c:pt idx="7">
                  <c:v>Brebis</c:v>
                </c:pt>
                <c:pt idx="8">
                  <c:v>Alternative Vegetale</c:v>
                </c:pt>
                <c:pt idx="9">
                  <c:v>Bloc</c:v>
                </c:pt>
                <c:pt idx="10">
                  <c:v>Specialite</c:v>
                </c:pt>
                <c:pt idx="11">
                  <c:v>Tranche A Froid</c:v>
                </c:pt>
                <c:pt idx="12">
                  <c:v>Dessert</c:v>
                </c:pt>
                <c:pt idx="13">
                  <c:v>Rape</c:v>
                </c:pt>
              </c:strCache>
            </c:strRef>
          </c:cat>
          <c:val>
            <c:numRef>
              <c:f>Sheet1!$B$2:$B$15</c:f>
              <c:numCache>
                <c:formatCode>General</c:formatCode>
                <c:ptCount val="14"/>
                <c:pt idx="0">
                  <c:v>30.956795</c:v>
                </c:pt>
                <c:pt idx="1">
                  <c:v>1.2893399999999999</c:v>
                </c:pt>
                <c:pt idx="2">
                  <c:v>0</c:v>
                </c:pt>
                <c:pt idx="3">
                  <c:v>0</c:v>
                </c:pt>
                <c:pt idx="4">
                  <c:v>3.3427920000000002</c:v>
                </c:pt>
                <c:pt idx="5">
                  <c:v>18.935383999999999</c:v>
                </c:pt>
                <c:pt idx="6">
                  <c:v>7.1438560000000004</c:v>
                </c:pt>
                <c:pt idx="7">
                  <c:v>2.41E-4</c:v>
                </c:pt>
                <c:pt idx="8">
                  <c:v>0</c:v>
                </c:pt>
                <c:pt idx="9">
                  <c:v>0</c:v>
                </c:pt>
                <c:pt idx="10">
                  <c:v>0</c:v>
                </c:pt>
                <c:pt idx="11">
                  <c:v>0</c:v>
                </c:pt>
                <c:pt idx="12">
                  <c:v>0</c:v>
                </c:pt>
                <c:pt idx="13">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5106227055976408</c:v>
                </c:pt>
                <c:pt idx="1">
                  <c:v>0.17048175556519352</c:v>
                </c:pt>
                <c:pt idx="2">
                  <c:v>0.13467894766909008</c:v>
                </c:pt>
                <c:pt idx="3">
                  <c:v>0.10621316177435423</c:v>
                </c:pt>
                <c:pt idx="4">
                  <c:v>4.033220960500284E-2</c:v>
                </c:pt>
                <c:pt idx="5">
                  <c:v>3.5878088061894284E-2</c:v>
                </c:pt>
                <c:pt idx="6">
                  <c:v>2.2484933556330394E-2</c:v>
                </c:pt>
                <c:pt idx="7">
                  <c:v>1.0432810658359121E-2</c:v>
                </c:pt>
                <c:pt idx="8">
                  <c:v>0.1284358225500114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36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11A-4236-A4AD-E8E6822FFDD9}"/>
                </c:ext>
              </c:extLst>
            </c:dLbl>
            <c:dLbl>
              <c:idx val="1"/>
              <c:tx>
                <c:rich>
                  <a:bodyPr/>
                  <a:lstStyle/>
                  <a:p>
                    <a:r>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11A-4236-A4AD-E8E6822FFDD9}"/>
                </c:ext>
              </c:extLst>
            </c:dLbl>
            <c:dLbl>
              <c:idx val="4"/>
              <c:tx>
                <c:rich>
                  <a:bodyPr/>
                  <a:lstStyle/>
                  <a:p>
                    <a:r>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11A-4236-A4AD-E8E6822FFDD9}"/>
                </c:ext>
              </c:extLst>
            </c:dLbl>
            <c:dLbl>
              <c:idx val="5"/>
              <c:tx>
                <c:rich>
                  <a:bodyPr/>
                  <a:lstStyle/>
                  <a:p>
                    <a:r>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r>
                      <a:t>2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11A-4236-A4AD-E8E6822FFDD9}"/>
                </c:ext>
              </c:extLst>
            </c:dLbl>
            <c:dLbl>
              <c:idx val="7"/>
              <c:tx>
                <c:rich>
                  <a:bodyPr/>
                  <a:lstStyle/>
                  <a:p>
                    <a:r>
                      <a:t>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11A-4236-A4AD-E8E6822FFDD9}"/>
                </c:ext>
              </c:extLst>
            </c:dLbl>
            <c:dLbl>
              <c:idx val="8"/>
              <c:tx>
                <c:rich>
                  <a:bodyPr/>
                  <a:lstStyle/>
                  <a:p>
                    <a:r>
                      <a:t>2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11A-4236-A4AD-E8E6822FFDD9}"/>
                </c:ext>
              </c:extLst>
            </c:dLbl>
            <c:dLbl>
              <c:idx val="9"/>
              <c:tx>
                <c:rich>
                  <a:bodyPr/>
                  <a:lstStyle/>
                  <a:p>
                    <a:r>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11A-4236-A4AD-E8E6822FFDD9}"/>
                </c:ext>
              </c:extLst>
            </c:dLbl>
            <c:dLbl>
              <c:idx val="10"/>
              <c:tx>
                <c:rich>
                  <a:bodyPr/>
                  <a:lstStyle/>
                  <a:p>
                    <a:r>
                      <a:t>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11A-4236-A4AD-E8E6822FFDD9}"/>
                </c:ext>
              </c:extLst>
            </c:dLbl>
            <c:dLbl>
              <c:idx val="11"/>
              <c:tx>
                <c:rich>
                  <a:bodyPr/>
                  <a:lstStyle/>
                  <a:p>
                    <a:r>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11A-4236-A4AD-E8E6822FFDD9}"/>
                </c:ext>
              </c:extLst>
            </c:dLbl>
            <c:dLbl>
              <c:idx val="12"/>
              <c:tx>
                <c:rich>
                  <a:bodyPr/>
                  <a:lstStyle/>
                  <a:p>
                    <a:r>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11A-4236-A4AD-E8E6822FFDD9}"/>
                </c:ext>
              </c:extLst>
            </c:dLbl>
            <c:dLbl>
              <c:idx val="13"/>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11A-4236-A4AD-E8E6822FFDD9}"/>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Rape</c:v>
                </c:pt>
                <c:pt idx="2">
                  <c:v>Salade</c:v>
                </c:pt>
                <c:pt idx="3">
                  <c:v>Classique</c:v>
                </c:pt>
                <c:pt idx="4">
                  <c:v>Bloc</c:v>
                </c:pt>
                <c:pt idx="5">
                  <c:v>Specialite</c:v>
                </c:pt>
                <c:pt idx="6">
                  <c:v>Frais A Tartiner</c:v>
                </c:pt>
                <c:pt idx="7">
                  <c:v>Chevre</c:v>
                </c:pt>
                <c:pt idx="8">
                  <c:v>Enfant</c:v>
                </c:pt>
                <c:pt idx="9">
                  <c:v>Tranche A Froid</c:v>
                </c:pt>
                <c:pt idx="10">
                  <c:v>Pate Persillee</c:v>
                </c:pt>
                <c:pt idx="11">
                  <c:v>Aperitif</c:v>
                </c:pt>
                <c:pt idx="12">
                  <c:v>Ingredient A Chaud</c:v>
                </c:pt>
                <c:pt idx="13">
                  <c:v>Dessert</c:v>
                </c:pt>
              </c:strCache>
            </c:strRef>
          </c:cat>
          <c:val>
            <c:numRef>
              <c:f>Sheet1!$B$2:$B$15</c:f>
              <c:numCache>
                <c:formatCode>General</c:formatCode>
                <c:ptCount val="14"/>
                <c:pt idx="0">
                  <c:v>362.89668499999999</c:v>
                </c:pt>
                <c:pt idx="1">
                  <c:v>59.464931</c:v>
                </c:pt>
                <c:pt idx="2">
                  <c:v>56.151853000000003</c:v>
                </c:pt>
                <c:pt idx="3">
                  <c:v>41.46819</c:v>
                </c:pt>
                <c:pt idx="4">
                  <c:v>40.274228999999998</c:v>
                </c:pt>
                <c:pt idx="5">
                  <c:v>27.87398</c:v>
                </c:pt>
                <c:pt idx="6">
                  <c:v>25.737106000000001</c:v>
                </c:pt>
                <c:pt idx="7">
                  <c:v>25.477487</c:v>
                </c:pt>
                <c:pt idx="8">
                  <c:v>19.526219999999999</c:v>
                </c:pt>
                <c:pt idx="9">
                  <c:v>19.120887</c:v>
                </c:pt>
                <c:pt idx="10">
                  <c:v>12.511229999999999</c:v>
                </c:pt>
                <c:pt idx="11">
                  <c:v>10.017999</c:v>
                </c:pt>
                <c:pt idx="12">
                  <c:v>8.1276980000000005</c:v>
                </c:pt>
                <c:pt idx="13">
                  <c:v>5.6791850000000004</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326-4CEE-8997-21A765B4F84F}"/>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326-4CEE-8997-21A765B4F84F}"/>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326-4CEE-8997-21A765B4F84F}"/>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326-4CEE-8997-21A765B4F84F}"/>
                </c:ext>
              </c:extLst>
            </c:dLbl>
            <c:dLbl>
              <c:idx val="8"/>
              <c:tx>
                <c:rich>
                  <a:bodyPr/>
                  <a:lstStyle/>
                  <a:p>
                    <a:r>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326-4CEE-8997-21A765B4F84F}"/>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326-4CEE-8997-21A765B4F84F}"/>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326-4CEE-8997-21A765B4F84F}"/>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326-4CEE-8997-21A765B4F84F}"/>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326-4CEE-8997-21A765B4F84F}"/>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326-4CEE-8997-21A765B4F84F}"/>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Rape</c:v>
                </c:pt>
                <c:pt idx="2">
                  <c:v>Salade</c:v>
                </c:pt>
                <c:pt idx="3">
                  <c:v>Classique</c:v>
                </c:pt>
                <c:pt idx="4">
                  <c:v>Bloc</c:v>
                </c:pt>
                <c:pt idx="5">
                  <c:v>Specialite</c:v>
                </c:pt>
                <c:pt idx="6">
                  <c:v>Frais A Tartiner</c:v>
                </c:pt>
                <c:pt idx="7">
                  <c:v>Chevre</c:v>
                </c:pt>
                <c:pt idx="8">
                  <c:v>Enfant</c:v>
                </c:pt>
                <c:pt idx="9">
                  <c:v>Tranche A Froid</c:v>
                </c:pt>
                <c:pt idx="10">
                  <c:v>Pate Persillee</c:v>
                </c:pt>
                <c:pt idx="11">
                  <c:v>Aperitif</c:v>
                </c:pt>
                <c:pt idx="12">
                  <c:v>Ingredient A Chaud</c:v>
                </c:pt>
                <c:pt idx="13">
                  <c:v>Dessert</c:v>
                </c:pt>
              </c:strCache>
            </c:strRef>
          </c:cat>
          <c:val>
            <c:numRef>
              <c:f>Sheet1!$B$2:$B$15</c:f>
              <c:numCache>
                <c:formatCode>General</c:formatCode>
                <c:ptCount val="14"/>
                <c:pt idx="0">
                  <c:v>4.7470210000000002</c:v>
                </c:pt>
                <c:pt idx="1">
                  <c:v>0</c:v>
                </c:pt>
                <c:pt idx="2">
                  <c:v>0</c:v>
                </c:pt>
                <c:pt idx="3">
                  <c:v>0</c:v>
                </c:pt>
                <c:pt idx="4">
                  <c:v>0</c:v>
                </c:pt>
                <c:pt idx="5">
                  <c:v>0</c:v>
                </c:pt>
                <c:pt idx="6">
                  <c:v>0.17410600000000001</c:v>
                </c:pt>
                <c:pt idx="7">
                  <c:v>0</c:v>
                </c:pt>
                <c:pt idx="8">
                  <c:v>4.5729150000000001</c:v>
                </c:pt>
                <c:pt idx="9">
                  <c:v>0</c:v>
                </c:pt>
                <c:pt idx="10">
                  <c:v>0</c:v>
                </c:pt>
                <c:pt idx="11">
                  <c:v>0</c:v>
                </c:pt>
                <c:pt idx="12">
                  <c:v>0</c:v>
                </c:pt>
                <c:pt idx="13">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36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D80-41A9-91E4-206C27957081}"/>
                </c:ext>
              </c:extLst>
            </c:dLbl>
            <c:dLbl>
              <c:idx val="1"/>
              <c:tx>
                <c:rich>
                  <a:bodyPr/>
                  <a:lstStyle/>
                  <a:p>
                    <a:r>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D80-41A9-91E4-206C27957081}"/>
                </c:ext>
              </c:extLst>
            </c:dLbl>
            <c:dLbl>
              <c:idx val="4"/>
              <c:tx>
                <c:rich>
                  <a:bodyPr/>
                  <a:lstStyle/>
                  <a:p>
                    <a:r>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D80-41A9-91E4-206C27957081}"/>
                </c:ext>
              </c:extLst>
            </c:dLbl>
            <c:dLbl>
              <c:idx val="5"/>
              <c:tx>
                <c:rich>
                  <a:bodyPr/>
                  <a:lstStyle/>
                  <a:p>
                    <a:r>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r>
                      <a:t>2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D80-41A9-91E4-206C27957081}"/>
                </c:ext>
              </c:extLst>
            </c:dLbl>
            <c:dLbl>
              <c:idx val="7"/>
              <c:tx>
                <c:rich>
                  <a:bodyPr/>
                  <a:lstStyle/>
                  <a:p>
                    <a:r>
                      <a:t>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D80-41A9-91E4-206C27957081}"/>
                </c:ext>
              </c:extLst>
            </c:dLbl>
            <c:dLbl>
              <c:idx val="8"/>
              <c:tx>
                <c:rich>
                  <a:bodyPr/>
                  <a:lstStyle/>
                  <a:p>
                    <a:r>
                      <a:t>2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D80-41A9-91E4-206C27957081}"/>
                </c:ext>
              </c:extLst>
            </c:dLbl>
            <c:dLbl>
              <c:idx val="9"/>
              <c:tx>
                <c:rich>
                  <a:bodyPr/>
                  <a:lstStyle/>
                  <a:p>
                    <a:r>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D80-41A9-91E4-206C27957081}"/>
                </c:ext>
              </c:extLst>
            </c:dLbl>
            <c:dLbl>
              <c:idx val="10"/>
              <c:tx>
                <c:rich>
                  <a:bodyPr/>
                  <a:lstStyle/>
                  <a:p>
                    <a:r>
                      <a:t>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D80-41A9-91E4-206C27957081}"/>
                </c:ext>
              </c:extLst>
            </c:dLbl>
            <c:dLbl>
              <c:idx val="11"/>
              <c:tx>
                <c:rich>
                  <a:bodyPr/>
                  <a:lstStyle/>
                  <a:p>
                    <a:r>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D80-41A9-91E4-206C27957081}"/>
                </c:ext>
              </c:extLst>
            </c:dLbl>
            <c:dLbl>
              <c:idx val="12"/>
              <c:tx>
                <c:rich>
                  <a:bodyPr/>
                  <a:lstStyle/>
                  <a:p>
                    <a:r>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D80-41A9-91E4-206C27957081}"/>
                </c:ext>
              </c:extLst>
            </c:dLbl>
            <c:dLbl>
              <c:idx val="13"/>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D80-41A9-91E4-206C27957081}"/>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Rape</c:v>
                </c:pt>
                <c:pt idx="2">
                  <c:v>Salade</c:v>
                </c:pt>
                <c:pt idx="3">
                  <c:v>Classique</c:v>
                </c:pt>
                <c:pt idx="4">
                  <c:v>Bloc</c:v>
                </c:pt>
                <c:pt idx="5">
                  <c:v>Specialite</c:v>
                </c:pt>
                <c:pt idx="6">
                  <c:v>Frais A Tartiner</c:v>
                </c:pt>
                <c:pt idx="7">
                  <c:v>Chevre</c:v>
                </c:pt>
                <c:pt idx="8">
                  <c:v>Enfant</c:v>
                </c:pt>
                <c:pt idx="9">
                  <c:v>Tranche A Froid</c:v>
                </c:pt>
                <c:pt idx="10">
                  <c:v>Pate Persillee</c:v>
                </c:pt>
                <c:pt idx="11">
                  <c:v>Aperitif</c:v>
                </c:pt>
                <c:pt idx="12">
                  <c:v>Ingredient A Chaud</c:v>
                </c:pt>
                <c:pt idx="13">
                  <c:v>Dessert</c:v>
                </c:pt>
              </c:strCache>
            </c:strRef>
          </c:cat>
          <c:val>
            <c:numRef>
              <c:f>Sheet1!$B$2:$B$15</c:f>
              <c:numCache>
                <c:formatCode>General</c:formatCode>
                <c:ptCount val="14"/>
                <c:pt idx="0">
                  <c:v>362.89668499999999</c:v>
                </c:pt>
                <c:pt idx="1">
                  <c:v>59.464931</c:v>
                </c:pt>
                <c:pt idx="2">
                  <c:v>56.151853000000003</c:v>
                </c:pt>
                <c:pt idx="3">
                  <c:v>41.46819</c:v>
                </c:pt>
                <c:pt idx="4">
                  <c:v>40.274228999999998</c:v>
                </c:pt>
                <c:pt idx="5">
                  <c:v>27.87398</c:v>
                </c:pt>
                <c:pt idx="6">
                  <c:v>25.737106000000001</c:v>
                </c:pt>
                <c:pt idx="7">
                  <c:v>25.477487</c:v>
                </c:pt>
                <c:pt idx="8">
                  <c:v>19.526219999999999</c:v>
                </c:pt>
                <c:pt idx="9">
                  <c:v>19.120887</c:v>
                </c:pt>
                <c:pt idx="10">
                  <c:v>12.511229999999999</c:v>
                </c:pt>
                <c:pt idx="11">
                  <c:v>10.017999</c:v>
                </c:pt>
                <c:pt idx="12">
                  <c:v>8.1276980000000005</c:v>
                </c:pt>
                <c:pt idx="13">
                  <c:v>5.6791850000000004</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EDA-47BE-BBAB-DBD15FF9DE5F}"/>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EDA-47BE-BBAB-DBD15FF9DE5F}"/>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EDA-47BE-BBAB-DBD15FF9DE5F}"/>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EDA-47BE-BBAB-DBD15FF9DE5F}"/>
                </c:ext>
              </c:extLst>
            </c:dLbl>
            <c:dLbl>
              <c:idx val="8"/>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EDA-47BE-BBAB-DBD15FF9DE5F}"/>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EDA-47BE-BBAB-DBD15FF9DE5F}"/>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EDA-47BE-BBAB-DBD15FF9DE5F}"/>
                </c:ext>
              </c:extLst>
            </c:dLbl>
            <c:dLbl>
              <c:idx val="1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EDA-47BE-BBAB-DBD15FF9DE5F}"/>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EDA-47BE-BBAB-DBD15FF9DE5F}"/>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EDA-47BE-BBAB-DBD15FF9DE5F}"/>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Rape</c:v>
                </c:pt>
                <c:pt idx="2">
                  <c:v>Salade</c:v>
                </c:pt>
                <c:pt idx="3">
                  <c:v>Classique</c:v>
                </c:pt>
                <c:pt idx="4">
                  <c:v>Bloc</c:v>
                </c:pt>
                <c:pt idx="5">
                  <c:v>Specialite</c:v>
                </c:pt>
                <c:pt idx="6">
                  <c:v>Frais A Tartiner</c:v>
                </c:pt>
                <c:pt idx="7">
                  <c:v>Chevre</c:v>
                </c:pt>
                <c:pt idx="8">
                  <c:v>Enfant</c:v>
                </c:pt>
                <c:pt idx="9">
                  <c:v>Tranche A Froid</c:v>
                </c:pt>
                <c:pt idx="10">
                  <c:v>Pate Persillee</c:v>
                </c:pt>
                <c:pt idx="11">
                  <c:v>Aperitif</c:v>
                </c:pt>
                <c:pt idx="12">
                  <c:v>Ingredient A Chaud</c:v>
                </c:pt>
                <c:pt idx="13">
                  <c:v>Dessert</c:v>
                </c:pt>
              </c:strCache>
            </c:strRef>
          </c:cat>
          <c:val>
            <c:numRef>
              <c:f>Sheet1!$B$2:$B$15</c:f>
              <c:numCache>
                <c:formatCode>General</c:formatCode>
                <c:ptCount val="14"/>
                <c:pt idx="0">
                  <c:v>5.6586449999999999</c:v>
                </c:pt>
                <c:pt idx="1">
                  <c:v>0</c:v>
                </c:pt>
                <c:pt idx="2">
                  <c:v>0</c:v>
                </c:pt>
                <c:pt idx="3">
                  <c:v>0</c:v>
                </c:pt>
                <c:pt idx="4">
                  <c:v>0</c:v>
                </c:pt>
                <c:pt idx="5">
                  <c:v>0</c:v>
                </c:pt>
                <c:pt idx="6">
                  <c:v>0</c:v>
                </c:pt>
                <c:pt idx="7">
                  <c:v>0</c:v>
                </c:pt>
                <c:pt idx="8">
                  <c:v>5.6585979999999996</c:v>
                </c:pt>
                <c:pt idx="9">
                  <c:v>0</c:v>
                </c:pt>
                <c:pt idx="10">
                  <c:v>0</c:v>
                </c:pt>
                <c:pt idx="11">
                  <c:v>0</c:v>
                </c:pt>
                <c:pt idx="12">
                  <c:v>4.6999999999999997E-5</c:v>
                </c:pt>
                <c:pt idx="13">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36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A2D-4B81-A8E7-D31BDBCEDF65}"/>
                </c:ext>
              </c:extLst>
            </c:dLbl>
            <c:dLbl>
              <c:idx val="1"/>
              <c:tx>
                <c:rich>
                  <a:bodyPr/>
                  <a:lstStyle/>
                  <a:p>
                    <a:r>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A2D-4B81-A8E7-D31BDBCEDF65}"/>
                </c:ext>
              </c:extLst>
            </c:dLbl>
            <c:dLbl>
              <c:idx val="4"/>
              <c:tx>
                <c:rich>
                  <a:bodyPr/>
                  <a:lstStyle/>
                  <a:p>
                    <a:r>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A2D-4B81-A8E7-D31BDBCEDF65}"/>
                </c:ext>
              </c:extLst>
            </c:dLbl>
            <c:dLbl>
              <c:idx val="5"/>
              <c:tx>
                <c:rich>
                  <a:bodyPr/>
                  <a:lstStyle/>
                  <a:p>
                    <a:r>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r>
                      <a:t>2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A2D-4B81-A8E7-D31BDBCEDF65}"/>
                </c:ext>
              </c:extLst>
            </c:dLbl>
            <c:dLbl>
              <c:idx val="7"/>
              <c:tx>
                <c:rich>
                  <a:bodyPr/>
                  <a:lstStyle/>
                  <a:p>
                    <a:r>
                      <a:t>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A2D-4B81-A8E7-D31BDBCEDF65}"/>
                </c:ext>
              </c:extLst>
            </c:dLbl>
            <c:dLbl>
              <c:idx val="8"/>
              <c:tx>
                <c:rich>
                  <a:bodyPr/>
                  <a:lstStyle/>
                  <a:p>
                    <a:r>
                      <a:t>2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A2D-4B81-A8E7-D31BDBCEDF65}"/>
                </c:ext>
              </c:extLst>
            </c:dLbl>
            <c:dLbl>
              <c:idx val="9"/>
              <c:tx>
                <c:rich>
                  <a:bodyPr/>
                  <a:lstStyle/>
                  <a:p>
                    <a:r>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A2D-4B81-A8E7-D31BDBCEDF65}"/>
                </c:ext>
              </c:extLst>
            </c:dLbl>
            <c:dLbl>
              <c:idx val="10"/>
              <c:tx>
                <c:rich>
                  <a:bodyPr/>
                  <a:lstStyle/>
                  <a:p>
                    <a:r>
                      <a:t>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A2D-4B81-A8E7-D31BDBCEDF65}"/>
                </c:ext>
              </c:extLst>
            </c:dLbl>
            <c:dLbl>
              <c:idx val="11"/>
              <c:tx>
                <c:rich>
                  <a:bodyPr/>
                  <a:lstStyle/>
                  <a:p>
                    <a:r>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A2D-4B81-A8E7-D31BDBCEDF65}"/>
                </c:ext>
              </c:extLst>
            </c:dLbl>
            <c:dLbl>
              <c:idx val="12"/>
              <c:tx>
                <c:rich>
                  <a:bodyPr/>
                  <a:lstStyle/>
                  <a:p>
                    <a:r>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A2D-4B81-A8E7-D31BDBCEDF65}"/>
                </c:ext>
              </c:extLst>
            </c:dLbl>
            <c:dLbl>
              <c:idx val="13"/>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A2D-4B81-A8E7-D31BDBCEDF65}"/>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Rape</c:v>
                </c:pt>
                <c:pt idx="2">
                  <c:v>Salade</c:v>
                </c:pt>
                <c:pt idx="3">
                  <c:v>Classique</c:v>
                </c:pt>
                <c:pt idx="4">
                  <c:v>Bloc</c:v>
                </c:pt>
                <c:pt idx="5">
                  <c:v>Specialite</c:v>
                </c:pt>
                <c:pt idx="6">
                  <c:v>Frais A Tartiner</c:v>
                </c:pt>
                <c:pt idx="7">
                  <c:v>Chevre</c:v>
                </c:pt>
                <c:pt idx="8">
                  <c:v>Enfant</c:v>
                </c:pt>
                <c:pt idx="9">
                  <c:v>Tranche A Froid</c:v>
                </c:pt>
                <c:pt idx="10">
                  <c:v>Pate Persillee</c:v>
                </c:pt>
                <c:pt idx="11">
                  <c:v>Aperitif</c:v>
                </c:pt>
                <c:pt idx="12">
                  <c:v>Ingredient A Chaud</c:v>
                </c:pt>
                <c:pt idx="13">
                  <c:v>Dessert</c:v>
                </c:pt>
              </c:strCache>
            </c:strRef>
          </c:cat>
          <c:val>
            <c:numRef>
              <c:f>Sheet1!$B$2:$B$15</c:f>
              <c:numCache>
                <c:formatCode>General</c:formatCode>
                <c:ptCount val="14"/>
                <c:pt idx="0">
                  <c:v>362.89668499999999</c:v>
                </c:pt>
                <c:pt idx="1">
                  <c:v>59.464931</c:v>
                </c:pt>
                <c:pt idx="2">
                  <c:v>56.151853000000003</c:v>
                </c:pt>
                <c:pt idx="3">
                  <c:v>41.46819</c:v>
                </c:pt>
                <c:pt idx="4">
                  <c:v>40.274228999999998</c:v>
                </c:pt>
                <c:pt idx="5">
                  <c:v>27.87398</c:v>
                </c:pt>
                <c:pt idx="6">
                  <c:v>25.737106000000001</c:v>
                </c:pt>
                <c:pt idx="7">
                  <c:v>25.477487</c:v>
                </c:pt>
                <c:pt idx="8">
                  <c:v>19.526219999999999</c:v>
                </c:pt>
                <c:pt idx="9">
                  <c:v>19.120887</c:v>
                </c:pt>
                <c:pt idx="10">
                  <c:v>12.511229999999999</c:v>
                </c:pt>
                <c:pt idx="11">
                  <c:v>10.017999</c:v>
                </c:pt>
                <c:pt idx="12">
                  <c:v>8.1276980000000005</c:v>
                </c:pt>
                <c:pt idx="13">
                  <c:v>5.6791850000000004</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B1F-43EA-9B7C-1C90C3FC77C3}"/>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B1F-43EA-9B7C-1C90C3FC77C3}"/>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r>
                      <a:t>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B1F-43EA-9B7C-1C90C3FC77C3}"/>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B1F-43EA-9B7C-1C90C3FC77C3}"/>
                </c:ext>
              </c:extLst>
            </c:dLbl>
            <c:dLbl>
              <c:idx val="8"/>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B1F-43EA-9B7C-1C90C3FC77C3}"/>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B1F-43EA-9B7C-1C90C3FC77C3}"/>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B1F-43EA-9B7C-1C90C3FC77C3}"/>
                </c:ext>
              </c:extLst>
            </c:dLbl>
            <c:dLbl>
              <c:idx val="11"/>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B1F-43EA-9B7C-1C90C3FC77C3}"/>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B1F-43EA-9B7C-1C90C3FC77C3}"/>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B1F-43EA-9B7C-1C90C3FC77C3}"/>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Rape</c:v>
                </c:pt>
                <c:pt idx="2">
                  <c:v>Salade</c:v>
                </c:pt>
                <c:pt idx="3">
                  <c:v>Classique</c:v>
                </c:pt>
                <c:pt idx="4">
                  <c:v>Bloc</c:v>
                </c:pt>
                <c:pt idx="5">
                  <c:v>Specialite</c:v>
                </c:pt>
                <c:pt idx="6">
                  <c:v>Frais A Tartiner</c:v>
                </c:pt>
                <c:pt idx="7">
                  <c:v>Chevre</c:v>
                </c:pt>
                <c:pt idx="8">
                  <c:v>Enfant</c:v>
                </c:pt>
                <c:pt idx="9">
                  <c:v>Tranche A Froid</c:v>
                </c:pt>
                <c:pt idx="10">
                  <c:v>Pate Persillee</c:v>
                </c:pt>
                <c:pt idx="11">
                  <c:v>Aperitif</c:v>
                </c:pt>
                <c:pt idx="12">
                  <c:v>Ingredient A Chaud</c:v>
                </c:pt>
                <c:pt idx="13">
                  <c:v>Dessert</c:v>
                </c:pt>
              </c:strCache>
            </c:strRef>
          </c:cat>
          <c:val>
            <c:numRef>
              <c:f>Sheet1!$B$2:$B$15</c:f>
              <c:numCache>
                <c:formatCode>General</c:formatCode>
                <c:ptCount val="14"/>
                <c:pt idx="0">
                  <c:v>5.5925989999999999</c:v>
                </c:pt>
                <c:pt idx="1">
                  <c:v>0</c:v>
                </c:pt>
                <c:pt idx="2">
                  <c:v>0.77213600000000004</c:v>
                </c:pt>
                <c:pt idx="3">
                  <c:v>0</c:v>
                </c:pt>
                <c:pt idx="4">
                  <c:v>0</c:v>
                </c:pt>
                <c:pt idx="5">
                  <c:v>0</c:v>
                </c:pt>
                <c:pt idx="6">
                  <c:v>3.4688189999999999</c:v>
                </c:pt>
                <c:pt idx="7">
                  <c:v>0</c:v>
                </c:pt>
                <c:pt idx="8">
                  <c:v>0</c:v>
                </c:pt>
                <c:pt idx="9">
                  <c:v>0</c:v>
                </c:pt>
                <c:pt idx="10">
                  <c:v>0</c:v>
                </c:pt>
                <c:pt idx="11">
                  <c:v>1.1780649999999999</c:v>
                </c:pt>
                <c:pt idx="12">
                  <c:v>0.17357900000000001</c:v>
                </c:pt>
                <c:pt idx="13">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r>
                      <a:t>36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C01-4417-A08A-96AF25D7748E}"/>
                </c:ext>
              </c:extLst>
            </c:dLbl>
            <c:dLbl>
              <c:idx val="1"/>
              <c:tx>
                <c:rich>
                  <a:bodyPr/>
                  <a:lstStyle/>
                  <a:p>
                    <a:r>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5-4822-ACE2-2334514EEDC1}"/>
                </c:ext>
              </c:extLst>
            </c:dLbl>
            <c:dLbl>
              <c:idx val="2"/>
              <c:tx>
                <c:rich>
                  <a:bodyPr/>
                  <a:lstStyle/>
                  <a:p>
                    <a:r>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5-4822-ACE2-2334514EEDC1}"/>
                </c:ext>
              </c:extLst>
            </c:dLbl>
            <c:dLbl>
              <c:idx val="3"/>
              <c:tx>
                <c:rich>
                  <a:bodyPr/>
                  <a:lstStyle/>
                  <a:p>
                    <a:r>
                      <a:t>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C01-4417-A08A-96AF25D7748E}"/>
                </c:ext>
              </c:extLst>
            </c:dLbl>
            <c:dLbl>
              <c:idx val="4"/>
              <c:tx>
                <c:rich>
                  <a:bodyPr/>
                  <a:lstStyle/>
                  <a:p>
                    <a:r>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C01-4417-A08A-96AF25D7748E}"/>
                </c:ext>
              </c:extLst>
            </c:dLbl>
            <c:dLbl>
              <c:idx val="5"/>
              <c:tx>
                <c:rich>
                  <a:bodyPr/>
                  <a:lstStyle/>
                  <a:p>
                    <a:r>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5-4822-ACE2-2334514EEDC1}"/>
                </c:ext>
              </c:extLst>
            </c:dLbl>
            <c:dLbl>
              <c:idx val="6"/>
              <c:tx>
                <c:rich>
                  <a:bodyPr/>
                  <a:lstStyle/>
                  <a:p>
                    <a:r>
                      <a:t>2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C01-4417-A08A-96AF25D7748E}"/>
                </c:ext>
              </c:extLst>
            </c:dLbl>
            <c:dLbl>
              <c:idx val="7"/>
              <c:tx>
                <c:rich>
                  <a:bodyPr/>
                  <a:lstStyle/>
                  <a:p>
                    <a:r>
                      <a:t>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C01-4417-A08A-96AF25D7748E}"/>
                </c:ext>
              </c:extLst>
            </c:dLbl>
            <c:dLbl>
              <c:idx val="8"/>
              <c:tx>
                <c:rich>
                  <a:bodyPr/>
                  <a:lstStyle/>
                  <a:p>
                    <a:r>
                      <a:t>2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C01-4417-A08A-96AF25D7748E}"/>
                </c:ext>
              </c:extLst>
            </c:dLbl>
            <c:dLbl>
              <c:idx val="9"/>
              <c:tx>
                <c:rich>
                  <a:bodyPr/>
                  <a:lstStyle/>
                  <a:p>
                    <a:r>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C01-4417-A08A-96AF25D7748E}"/>
                </c:ext>
              </c:extLst>
            </c:dLbl>
            <c:dLbl>
              <c:idx val="10"/>
              <c:tx>
                <c:rich>
                  <a:bodyPr/>
                  <a:lstStyle/>
                  <a:p>
                    <a:r>
                      <a:t>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C01-4417-A08A-96AF25D7748E}"/>
                </c:ext>
              </c:extLst>
            </c:dLbl>
            <c:dLbl>
              <c:idx val="11"/>
              <c:tx>
                <c:rich>
                  <a:bodyPr/>
                  <a:lstStyle/>
                  <a:p>
                    <a:r>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C01-4417-A08A-96AF25D7748E}"/>
                </c:ext>
              </c:extLst>
            </c:dLbl>
            <c:dLbl>
              <c:idx val="12"/>
              <c:tx>
                <c:rich>
                  <a:bodyPr/>
                  <a:lstStyle/>
                  <a:p>
                    <a:r>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C01-4417-A08A-96AF25D7748E}"/>
                </c:ext>
              </c:extLst>
            </c:dLbl>
            <c:dLbl>
              <c:idx val="13"/>
              <c:tx>
                <c:rich>
                  <a:bodyPr/>
                  <a:lstStyle/>
                  <a:p>
                    <a: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C01-4417-A08A-96AF25D7748E}"/>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Rape</c:v>
                </c:pt>
                <c:pt idx="2">
                  <c:v>Salade</c:v>
                </c:pt>
                <c:pt idx="3">
                  <c:v>Classique</c:v>
                </c:pt>
                <c:pt idx="4">
                  <c:v>Bloc</c:v>
                </c:pt>
                <c:pt idx="5">
                  <c:v>Specialite</c:v>
                </c:pt>
                <c:pt idx="6">
                  <c:v>Frais A Tartiner</c:v>
                </c:pt>
                <c:pt idx="7">
                  <c:v>Chevre</c:v>
                </c:pt>
                <c:pt idx="8">
                  <c:v>Enfant</c:v>
                </c:pt>
                <c:pt idx="9">
                  <c:v>Tranche A Froid</c:v>
                </c:pt>
                <c:pt idx="10">
                  <c:v>Pate Persillee</c:v>
                </c:pt>
                <c:pt idx="11">
                  <c:v>Aperitif</c:v>
                </c:pt>
                <c:pt idx="12">
                  <c:v>Ingredient A Chaud</c:v>
                </c:pt>
                <c:pt idx="13">
                  <c:v>Dessert</c:v>
                </c:pt>
              </c:strCache>
            </c:strRef>
          </c:cat>
          <c:val>
            <c:numRef>
              <c:f>Sheet1!$B$2:$B$15</c:f>
              <c:numCache>
                <c:formatCode>General</c:formatCode>
                <c:ptCount val="14"/>
                <c:pt idx="0">
                  <c:v>362.89668499999999</c:v>
                </c:pt>
                <c:pt idx="1">
                  <c:v>59.464931</c:v>
                </c:pt>
                <c:pt idx="2">
                  <c:v>56.151853000000003</c:v>
                </c:pt>
                <c:pt idx="3">
                  <c:v>41.46819</c:v>
                </c:pt>
                <c:pt idx="4">
                  <c:v>40.274228999999998</c:v>
                </c:pt>
                <c:pt idx="5">
                  <c:v>27.87398</c:v>
                </c:pt>
                <c:pt idx="6">
                  <c:v>25.737106000000001</c:v>
                </c:pt>
                <c:pt idx="7">
                  <c:v>25.477487</c:v>
                </c:pt>
                <c:pt idx="8">
                  <c:v>19.526219999999999</c:v>
                </c:pt>
                <c:pt idx="9">
                  <c:v>19.120887</c:v>
                </c:pt>
                <c:pt idx="10">
                  <c:v>12.511229999999999</c:v>
                </c:pt>
                <c:pt idx="11">
                  <c:v>10.017999</c:v>
                </c:pt>
                <c:pt idx="12">
                  <c:v>8.1276980000000005</c:v>
                </c:pt>
                <c:pt idx="13">
                  <c:v>5.6791850000000004</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r>
                      <a:t>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BD-4D99-9C45-2231A25F0D2A}"/>
                </c:ext>
              </c:extLst>
            </c:dLbl>
            <c:dLbl>
              <c:idx val="1"/>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BD-4D99-9C45-2231A25F0D2A}"/>
                </c:ext>
              </c:extLst>
            </c:dLbl>
            <c:dLbl>
              <c:idx val="2"/>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BD-4D99-9C45-2231A25F0D2A}"/>
                </c:ext>
              </c:extLst>
            </c:dLbl>
            <c:dLbl>
              <c:idx val="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153-4E23-BFA8-71F7EC0AD6CE}"/>
                </c:ext>
              </c:extLst>
            </c:dLbl>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153-4E23-BFA8-71F7EC0AD6CE}"/>
                </c:ext>
              </c:extLst>
            </c:dLbl>
            <c:dLbl>
              <c:idx val="5"/>
              <c:tx>
                <c:rich>
                  <a:bodyPr/>
                  <a:lstStyle/>
                  <a:p>
                    <a:r>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BD-4D99-9C45-2231A25F0D2A}"/>
                </c:ext>
              </c:extLst>
            </c:dLbl>
            <c:dLbl>
              <c:idx val="6"/>
              <c:tx>
                <c:rich>
                  <a:bodyPr/>
                  <a:lstStyle/>
                  <a:p>
                    <a:r>
                      <a:t>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153-4E23-BFA8-71F7EC0AD6CE}"/>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153-4E23-BFA8-71F7EC0AD6CE}"/>
                </c:ext>
              </c:extLst>
            </c:dLbl>
            <c:dLbl>
              <c:idx val="8"/>
              <c:tx>
                <c:rich>
                  <a:bodyPr/>
                  <a:lstStyle/>
                  <a:p>
                    <a:r>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153-4E23-BFA8-71F7EC0AD6CE}"/>
                </c:ext>
              </c:extLst>
            </c:dLbl>
            <c:dLbl>
              <c:idx val="9"/>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153-4E23-BFA8-71F7EC0AD6CE}"/>
                </c:ext>
              </c:extLst>
            </c:dLbl>
            <c:dLbl>
              <c:idx val="1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153-4E23-BFA8-71F7EC0AD6CE}"/>
                </c:ext>
              </c:extLst>
            </c:dLbl>
            <c:dLbl>
              <c:idx val="11"/>
              <c:tx>
                <c:rich>
                  <a:bodyPr/>
                  <a:lstStyle/>
                  <a:p>
                    <a:r>
                      <a:t>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153-4E23-BFA8-71F7EC0AD6CE}"/>
                </c:ext>
              </c:extLst>
            </c:dLbl>
            <c:dLbl>
              <c:idx val="12"/>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153-4E23-BFA8-71F7EC0AD6CE}"/>
                </c:ext>
              </c:extLst>
            </c:dLbl>
            <c:dLbl>
              <c:idx val="13"/>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153-4E23-BFA8-71F7EC0AD6CE}"/>
                </c:ext>
              </c:extLst>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Rape</c:v>
                </c:pt>
                <c:pt idx="2">
                  <c:v>Salade</c:v>
                </c:pt>
                <c:pt idx="3">
                  <c:v>Classique</c:v>
                </c:pt>
                <c:pt idx="4">
                  <c:v>Bloc</c:v>
                </c:pt>
                <c:pt idx="5">
                  <c:v>Specialite</c:v>
                </c:pt>
                <c:pt idx="6">
                  <c:v>Frais A Tartiner</c:v>
                </c:pt>
                <c:pt idx="7">
                  <c:v>Chevre</c:v>
                </c:pt>
                <c:pt idx="8">
                  <c:v>Enfant</c:v>
                </c:pt>
                <c:pt idx="9">
                  <c:v>Tranche A Froid</c:v>
                </c:pt>
                <c:pt idx="10">
                  <c:v>Pate Persillee</c:v>
                </c:pt>
                <c:pt idx="11">
                  <c:v>Aperitif</c:v>
                </c:pt>
                <c:pt idx="12">
                  <c:v>Ingredient A Chaud</c:v>
                </c:pt>
                <c:pt idx="13">
                  <c:v>Dessert</c:v>
                </c:pt>
              </c:strCache>
            </c:strRef>
          </c:cat>
          <c:val>
            <c:numRef>
              <c:f>Sheet1!$B$2:$B$15</c:f>
              <c:numCache>
                <c:formatCode>General</c:formatCode>
                <c:ptCount val="14"/>
                <c:pt idx="0">
                  <c:v>27.737898999999999</c:v>
                </c:pt>
                <c:pt idx="1">
                  <c:v>0</c:v>
                </c:pt>
                <c:pt idx="2">
                  <c:v>0.77213600000000004</c:v>
                </c:pt>
                <c:pt idx="3">
                  <c:v>0</c:v>
                </c:pt>
                <c:pt idx="4">
                  <c:v>1.616E-3</c:v>
                </c:pt>
                <c:pt idx="5">
                  <c:v>1.1260650000000001</c:v>
                </c:pt>
                <c:pt idx="6">
                  <c:v>3.642925</c:v>
                </c:pt>
                <c:pt idx="7">
                  <c:v>0</c:v>
                </c:pt>
                <c:pt idx="8">
                  <c:v>14.944758999999999</c:v>
                </c:pt>
                <c:pt idx="9">
                  <c:v>2.421E-3</c:v>
                </c:pt>
                <c:pt idx="10">
                  <c:v>0</c:v>
                </c:pt>
                <c:pt idx="11">
                  <c:v>6.9501939999999998</c:v>
                </c:pt>
                <c:pt idx="12">
                  <c:v>0.173626</c:v>
                </c:pt>
                <c:pt idx="13">
                  <c:v>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60.9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C08-432D-8287-C34E5ECE035C}"/>
                </c:ext>
              </c:extLst>
            </c:dLbl>
            <c:dLbl>
              <c:idx val="2"/>
              <c:tx>
                <c:rich>
                  <a:bodyPr/>
                  <a:lstStyle/>
                  <a:p>
                    <a:r>
                      <a:t>39.1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1</c:v>
                </c:pt>
                <c:pt idx="1">
                  <c:v>0.6089</c:v>
                </c:pt>
                <c:pt idx="2">
                  <c:v>0.391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44.9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E7-4AA5-9CBE-628C7359820C}"/>
                </c:ext>
              </c:extLst>
            </c:dLbl>
            <c:dLbl>
              <c:idx val="2"/>
              <c:tx>
                <c:rich>
                  <a:bodyPr/>
                  <a:lstStyle/>
                  <a:p>
                    <a:r>
                      <a:t>55.1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1</c:v>
                </c:pt>
                <c:pt idx="1">
                  <c:v>0.44869999999999999</c:v>
                </c:pt>
                <c:pt idx="2">
                  <c:v>0.5513000000000000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10</c:f>
              <c:numCache>
                <c:formatCode>General</c:formatCode>
                <c:ptCount val="9"/>
                <c:pt idx="0">
                  <c:v>1.1847591622199338E-2</c:v>
                </c:pt>
                <c:pt idx="1">
                  <c:v>-3.2348799014859375E-3</c:v>
                </c:pt>
                <c:pt idx="2">
                  <c:v>-6.9694879382035113E-3</c:v>
                </c:pt>
                <c:pt idx="3">
                  <c:v>1.78661016361642E-3</c:v>
                </c:pt>
                <c:pt idx="4">
                  <c:v>-3.0471988582506104E-3</c:v>
                </c:pt>
                <c:pt idx="5">
                  <c:v>1.6121799025872983E-3</c:v>
                </c:pt>
                <c:pt idx="6">
                  <c:v>2.2786689027949857E-3</c:v>
                </c:pt>
                <c:pt idx="7">
                  <c:v>4.5710782692176544E-4</c:v>
                </c:pt>
                <c:pt idx="8">
                  <c:v>-4.7305917201797406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59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36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699-45CA-A0E4-CC1118EA4D7D}"/>
                </c:ext>
              </c:extLst>
            </c:dLbl>
            <c:dLbl>
              <c:idx val="2"/>
              <c:tx>
                <c:rich>
                  <a:bodyPr/>
                  <a:lstStyle/>
                  <a:p>
                    <a:r>
                      <a:t>23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596032431</c:v>
                </c:pt>
                <c:pt idx="1">
                  <c:v>362896685</c:v>
                </c:pt>
                <c:pt idx="2">
                  <c:v>233135746</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1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615-4211-8037-D44C280D1CC9}"/>
                </c:ext>
              </c:extLst>
            </c:dLbl>
            <c:dLbl>
              <c:idx val="2"/>
              <c:tx>
                <c:rich>
                  <a:bodyPr/>
                  <a:lstStyle/>
                  <a:p>
                    <a:r>
                      <a:t>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10578704</c:v>
                </c:pt>
                <c:pt idx="1">
                  <c:v>4747021</c:v>
                </c:pt>
                <c:pt idx="2">
                  <c:v>5831683</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36.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r>
                      <a:t>+9.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0</c:v>
                </c:pt>
                <c:pt idx="1">
                  <c:v>0.35980000000000001</c:v>
                </c:pt>
                <c:pt idx="2">
                  <c:v>9.5700000000000007E-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17.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r>
                      <a:t>+22.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0</c:v>
                </c:pt>
                <c:pt idx="1">
                  <c:v>0.17930000000000001</c:v>
                </c:pt>
                <c:pt idx="2">
                  <c:v>0.2231000000000000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60.9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A71-4140-AF06-7D9D9508C9CC}"/>
                </c:ext>
              </c:extLst>
            </c:dLbl>
            <c:dLbl>
              <c:idx val="2"/>
              <c:tx>
                <c:rich>
                  <a:bodyPr/>
                  <a:lstStyle/>
                  <a:p>
                    <a:r>
                      <a:t>39.1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1</c:v>
                </c:pt>
                <c:pt idx="1">
                  <c:v>0.6089</c:v>
                </c:pt>
                <c:pt idx="2">
                  <c:v>0.391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45.6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AE2-48A3-87E1-EBBF9587ED2B}"/>
                </c:ext>
              </c:extLst>
            </c:dLbl>
            <c:dLbl>
              <c:idx val="2"/>
              <c:tx>
                <c:rich>
                  <a:bodyPr/>
                  <a:lstStyle/>
                  <a:p>
                    <a:r>
                      <a:t>54.4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1</c:v>
                </c:pt>
                <c:pt idx="1">
                  <c:v>0.45639999999999997</c:v>
                </c:pt>
                <c:pt idx="2">
                  <c:v>0.5435999999999999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59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36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F18-45B0-A1B8-427A2A3BC28A}"/>
                </c:ext>
              </c:extLst>
            </c:dLbl>
            <c:dLbl>
              <c:idx val="2"/>
              <c:tx>
                <c:rich>
                  <a:bodyPr/>
                  <a:lstStyle/>
                  <a:p>
                    <a:r>
                      <a:t>23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596032431</c:v>
                </c:pt>
                <c:pt idx="1">
                  <c:v>362896685</c:v>
                </c:pt>
                <c:pt idx="2">
                  <c:v>233135746</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1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6B3-4C7C-9B21-A211E12E8B8B}"/>
                </c:ext>
              </c:extLst>
            </c:dLbl>
            <c:dLbl>
              <c:idx val="2"/>
              <c:tx>
                <c:rich>
                  <a:bodyPr/>
                  <a:lstStyle/>
                  <a:p>
                    <a:r>
                      <a:t>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12399781</c:v>
                </c:pt>
                <c:pt idx="1">
                  <c:v>5658645</c:v>
                </c:pt>
                <c:pt idx="2">
                  <c:v>6741136</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36.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r>
                      <a:t>+9.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0</c:v>
                </c:pt>
                <c:pt idx="1">
                  <c:v>0.35980000000000001</c:v>
                </c:pt>
                <c:pt idx="2">
                  <c:v>9.5700000000000007E-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24.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r>
                      <a:t>+19.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0</c:v>
                </c:pt>
                <c:pt idx="1">
                  <c:v>0.24059999999999998</c:v>
                </c:pt>
                <c:pt idx="2">
                  <c:v>0.1924999999999999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5106227055976408</c:v>
                </c:pt>
                <c:pt idx="1">
                  <c:v>4.1923945256104801E-2</c:v>
                </c:pt>
                <c:pt idx="2">
                  <c:v>3.971133301253936E-2</c:v>
                </c:pt>
                <c:pt idx="3">
                  <c:v>3.9061352055212523E-2</c:v>
                </c:pt>
                <c:pt idx="4">
                  <c:v>3.8733123501889101E-2</c:v>
                </c:pt>
                <c:pt idx="5">
                  <c:v>3.7533422473750591E-2</c:v>
                </c:pt>
                <c:pt idx="6">
                  <c:v>3.0380378094993221E-2</c:v>
                </c:pt>
                <c:pt idx="7">
                  <c:v>2.6281732703530139E-2</c:v>
                </c:pt>
                <c:pt idx="8">
                  <c:v>1.9492623580296922E-2</c:v>
                </c:pt>
                <c:pt idx="9">
                  <c:v>0.3758198187619192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60.9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BC6-43CB-B836-0480FB8332A5}"/>
                </c:ext>
              </c:extLst>
            </c:dLbl>
            <c:dLbl>
              <c:idx val="2"/>
              <c:tx>
                <c:rich>
                  <a:bodyPr/>
                  <a:lstStyle/>
                  <a:p>
                    <a:r>
                      <a:t>39.1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1</c:v>
                </c:pt>
                <c:pt idx="1">
                  <c:v>0.6089</c:v>
                </c:pt>
                <c:pt idx="2">
                  <c:v>0.391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0.9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A41-4A18-B722-2C885B7A1F15}"/>
                </c:ext>
              </c:extLst>
            </c:dLbl>
            <c:dLbl>
              <c:idx val="2"/>
              <c:tx>
                <c:rich>
                  <a:bodyPr/>
                  <a:lstStyle/>
                  <a:p>
                    <a:r>
                      <a:t>49.1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1</c:v>
                </c:pt>
                <c:pt idx="1">
                  <c:v>0.50890000000000002</c:v>
                </c:pt>
                <c:pt idx="2">
                  <c:v>0.4910999999999999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59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36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8CA-43BE-9A23-04AD0F1AF9D1}"/>
                </c:ext>
              </c:extLst>
            </c:dLbl>
            <c:dLbl>
              <c:idx val="2"/>
              <c:tx>
                <c:rich>
                  <a:bodyPr/>
                  <a:lstStyle/>
                  <a:p>
                    <a:r>
                      <a:t>23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596032431</c:v>
                </c:pt>
                <c:pt idx="1">
                  <c:v>362896685</c:v>
                </c:pt>
                <c:pt idx="2">
                  <c:v>233135746</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1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E4D-453A-A042-61D765F3921D}"/>
                </c:ext>
              </c:extLst>
            </c:dLbl>
            <c:dLbl>
              <c:idx val="2"/>
              <c:tx>
                <c:rich>
                  <a:bodyPr/>
                  <a:lstStyle/>
                  <a:p>
                    <a:r>
                      <a:t>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10988918</c:v>
                </c:pt>
                <c:pt idx="1">
                  <c:v>5592599</c:v>
                </c:pt>
                <c:pt idx="2">
                  <c:v>5396319</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36.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r>
                      <a:t>+9.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0</c:v>
                </c:pt>
                <c:pt idx="1">
                  <c:v>0.35980000000000001</c:v>
                </c:pt>
                <c:pt idx="2">
                  <c:v>9.5700000000000007E-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16.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r>
                      <a:t>+19.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0</c:v>
                </c:pt>
                <c:pt idx="1">
                  <c:v>0.16860000000000003</c:v>
                </c:pt>
                <c:pt idx="2">
                  <c:v>0.1971999999999999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60.9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548-4A19-8581-B08D6E41E9CB}"/>
                </c:ext>
              </c:extLst>
            </c:dLbl>
            <c:dLbl>
              <c:idx val="2"/>
              <c:tx>
                <c:rich>
                  <a:bodyPr/>
                  <a:lstStyle/>
                  <a:p>
                    <a:r>
                      <a:t>39.1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1</c:v>
                </c:pt>
                <c:pt idx="1">
                  <c:v>0.6089</c:v>
                </c:pt>
                <c:pt idx="2">
                  <c:v>0.391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47.3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B6D-463A-9A46-1D8B31B69D88}"/>
                </c:ext>
              </c:extLst>
            </c:dLbl>
            <c:dLbl>
              <c:idx val="2"/>
              <c:tx>
                <c:rich>
                  <a:bodyPr/>
                  <a:lstStyle/>
                  <a:p>
                    <a:r>
                      <a:t>52.7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1</c:v>
                </c:pt>
                <c:pt idx="1">
                  <c:v>0.47260000000000002</c:v>
                </c:pt>
                <c:pt idx="2">
                  <c:v>0.5273999999999999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59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36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126-4F4F-A0D5-5A3D85EEBC76}"/>
                </c:ext>
              </c:extLst>
            </c:dLbl>
            <c:dLbl>
              <c:idx val="2"/>
              <c:tx>
                <c:rich>
                  <a:bodyPr/>
                  <a:lstStyle/>
                  <a:p>
                    <a:r>
                      <a:t>23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596032431</c:v>
                </c:pt>
                <c:pt idx="1">
                  <c:v>362896685</c:v>
                </c:pt>
                <c:pt idx="2">
                  <c:v>233135746</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5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2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158-4DFB-BB0F-6B8676DC1D07}"/>
                </c:ext>
              </c:extLst>
            </c:dLbl>
            <c:dLbl>
              <c:idx val="2"/>
              <c:tx>
                <c:rich>
                  <a:bodyPr/>
                  <a:lstStyle/>
                  <a:p>
                    <a:r>
                      <a:t>3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58694694</c:v>
                </c:pt>
                <c:pt idx="1">
                  <c:v>27737899</c:v>
                </c:pt>
                <c:pt idx="2">
                  <c:v>30956795</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10</c:f>
              <c:numCache>
                <c:formatCode>General</c:formatCode>
                <c:ptCount val="9"/>
                <c:pt idx="0">
                  <c:v>4.660339983711681E-3</c:v>
                </c:pt>
                <c:pt idx="1">
                  <c:v>-1.8631532015349339E-3</c:v>
                </c:pt>
                <c:pt idx="2">
                  <c:v>-7.7368729170085304E-3</c:v>
                </c:pt>
                <c:pt idx="3">
                  <c:v>-7.0245660589938475E-3</c:v>
                </c:pt>
                <c:pt idx="4">
                  <c:v>-3.7520616916782296E-3</c:v>
                </c:pt>
                <c:pt idx="5">
                  <c:v>8.5429429613777773E-3</c:v>
                </c:pt>
                <c:pt idx="6">
                  <c:v>3.0567404073762426E-3</c:v>
                </c:pt>
                <c:pt idx="7">
                  <c:v>1.6690167622677998E-4</c:v>
                </c:pt>
                <c:pt idx="8">
                  <c:v>3.9497288405230709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36.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r>
                      <a:t>+9.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0</c:v>
                </c:pt>
                <c:pt idx="1">
                  <c:v>0.35980000000000001</c:v>
                </c:pt>
                <c:pt idx="2">
                  <c:v>9.5700000000000007E-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19.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r>
                      <a:t>+21.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0</c:v>
                </c:pt>
                <c:pt idx="1">
                  <c:v>0.19700000000000001</c:v>
                </c:pt>
                <c:pt idx="2">
                  <c:v>0.2105999999999999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6.1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F3F-4AC2-9DCC-F8F3E5372AC4}"/>
                </c:ext>
              </c:extLst>
            </c:dLbl>
            <c:dLbl>
              <c:idx val="2"/>
              <c:tx>
                <c:rich>
                  <a:bodyPr/>
                  <a:lstStyle/>
                  <a:p>
                    <a:r>
                      <a:t>43.9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6059999999999999</c:v>
                </c:pt>
                <c:pt idx="2">
                  <c:v>0.4394000000000000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5.1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C3A-4B27-94F5-BCE7378224BA}"/>
                </c:ext>
              </c:extLst>
            </c:dLbl>
            <c:dLbl>
              <c:idx val="2"/>
              <c:tx>
                <c:rich>
                  <a:bodyPr/>
                  <a:lstStyle/>
                  <a:p>
                    <a:r>
                      <a:t>44.9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5130000000000001</c:v>
                </c:pt>
                <c:pt idx="2">
                  <c:v>0.4486999999999999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39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22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27B-47BF-8AEE-0C6172470B14}"/>
                </c:ext>
              </c:extLst>
            </c:dLbl>
            <c:dLbl>
              <c:idx val="2"/>
              <c:tx>
                <c:rich>
                  <a:bodyPr/>
                  <a:lstStyle/>
                  <a:p>
                    <a:r>
                      <a:t>17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395807795</c:v>
                </c:pt>
                <c:pt idx="1">
                  <c:v>221891116</c:v>
                </c:pt>
                <c:pt idx="2">
                  <c:v>173916679</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1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713-4A27-9A6D-E2E299235A81}"/>
                </c:ext>
              </c:extLst>
            </c:dLbl>
            <c:dLbl>
              <c:idx val="2"/>
              <c:tx>
                <c:rich>
                  <a:bodyPr/>
                  <a:lstStyle/>
                  <a:p>
                    <a:r>
                      <a:t>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578704</c:v>
                </c:pt>
                <c:pt idx="1">
                  <c:v>5831683</c:v>
                </c:pt>
                <c:pt idx="2">
                  <c:v>4747021</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25.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r>
                      <a:t>+20.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581</c:v>
                </c:pt>
                <c:pt idx="2">
                  <c:v>0.2008000000000000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22.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r>
                      <a:t>+17.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2310000000000002</c:v>
                </c:pt>
                <c:pt idx="2">
                  <c:v>0.1793000000000000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6.1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F3A-4165-9F1C-BBBBB91132B2}"/>
                </c:ext>
              </c:extLst>
            </c:dLbl>
            <c:dLbl>
              <c:idx val="2"/>
              <c:tx>
                <c:rich>
                  <a:bodyPr/>
                  <a:lstStyle/>
                  <a:p>
                    <a:r>
                      <a:t>43.9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6059999999999999</c:v>
                </c:pt>
                <c:pt idx="2">
                  <c:v>0.4394000000000000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4.4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2CF-4833-9C6F-0B25A514DA8C}"/>
                </c:ext>
              </c:extLst>
            </c:dLbl>
            <c:dLbl>
              <c:idx val="2"/>
              <c:tx>
                <c:rich>
                  <a:bodyPr/>
                  <a:lstStyle/>
                  <a:p>
                    <a:r>
                      <a:t>45.6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4369999999999996</c:v>
                </c:pt>
                <c:pt idx="2">
                  <c:v>0.4562999999999999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11</c:f>
              <c:numCache>
                <c:formatCode>General</c:formatCode>
                <c:ptCount val="10"/>
                <c:pt idx="0">
                  <c:v>4.660339983711681E-3</c:v>
                </c:pt>
                <c:pt idx="1">
                  <c:v>-5.5637674500422507E-3</c:v>
                </c:pt>
                <c:pt idx="2">
                  <c:v>2.4830502748946631E-3</c:v>
                </c:pt>
                <c:pt idx="3">
                  <c:v>1.6297475034369596E-3</c:v>
                </c:pt>
                <c:pt idx="4">
                  <c:v>-4.1926379592190782E-3</c:v>
                </c:pt>
                <c:pt idx="5">
                  <c:v>-3.2995391274925207E-4</c:v>
                </c:pt>
                <c:pt idx="6">
                  <c:v>-5.0675442620831332E-3</c:v>
                </c:pt>
                <c:pt idx="7">
                  <c:v>-5.4470616281414308E-4</c:v>
                </c:pt>
                <c:pt idx="8">
                  <c:v>-7.073215940060773E-5</c:v>
                </c:pt>
                <c:pt idx="9">
                  <c:v>6.9962767092178295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39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22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D06-43B8-9DA2-325514FA5437}"/>
                </c:ext>
              </c:extLst>
            </c:dLbl>
            <c:dLbl>
              <c:idx val="2"/>
              <c:tx>
                <c:rich>
                  <a:bodyPr/>
                  <a:lstStyle/>
                  <a:p>
                    <a:r>
                      <a:t>17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395807795</c:v>
                </c:pt>
                <c:pt idx="1">
                  <c:v>221891116</c:v>
                </c:pt>
                <c:pt idx="2">
                  <c:v>173916679</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1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8CE-4D81-A116-06864C381D28}"/>
                </c:ext>
              </c:extLst>
            </c:dLbl>
            <c:dLbl>
              <c:idx val="2"/>
              <c:tx>
                <c:rich>
                  <a:bodyPr/>
                  <a:lstStyle/>
                  <a:p>
                    <a:r>
                      <a:t>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2399734</c:v>
                </c:pt>
                <c:pt idx="1">
                  <c:v>6741136</c:v>
                </c:pt>
                <c:pt idx="2">
                  <c:v>5658598</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25.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r>
                      <a:t>+20.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581</c:v>
                </c:pt>
                <c:pt idx="2">
                  <c:v>0.2008000000000000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19.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r>
                      <a:t>+21.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19639999999999996</c:v>
                </c:pt>
                <c:pt idx="2">
                  <c:v>0.212599999999999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6.1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87D-4E1E-8DAB-352E788EDAC4}"/>
                </c:ext>
              </c:extLst>
            </c:dLbl>
            <c:dLbl>
              <c:idx val="2"/>
              <c:tx>
                <c:rich>
                  <a:bodyPr/>
                  <a:lstStyle/>
                  <a:p>
                    <a:r>
                      <a:t>43.9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6059999999999999</c:v>
                </c:pt>
                <c:pt idx="2">
                  <c:v>0.4394000000000000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0.5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043-4AB9-858C-88B5002362A1}"/>
                </c:ext>
              </c:extLst>
            </c:dLbl>
            <c:dLbl>
              <c:idx val="2"/>
              <c:tx>
                <c:rich>
                  <a:bodyPr/>
                  <a:lstStyle/>
                  <a:p>
                    <a:r>
                      <a:t>49.5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0490000000000002</c:v>
                </c:pt>
                <c:pt idx="2">
                  <c:v>0.4950999999999999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39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22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3B5-4321-90DD-33CBB09B9603}"/>
                </c:ext>
              </c:extLst>
            </c:dLbl>
            <c:dLbl>
              <c:idx val="2"/>
              <c:tx>
                <c:rich>
                  <a:bodyPr/>
                  <a:lstStyle/>
                  <a:p>
                    <a:r>
                      <a:t>17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395807795</c:v>
                </c:pt>
                <c:pt idx="1">
                  <c:v>221891116</c:v>
                </c:pt>
                <c:pt idx="2">
                  <c:v>173916679</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DB6-4DF1-A5EA-38F8B5CB5880}"/>
                </c:ext>
              </c:extLst>
            </c:dLbl>
            <c:dLbl>
              <c:idx val="2"/>
              <c:tx>
                <c:rich>
                  <a:bodyPr/>
                  <a:lstStyle/>
                  <a:p>
                    <a:r>
                      <a:t>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8566195</c:v>
                </c:pt>
                <c:pt idx="1">
                  <c:v>4325240</c:v>
                </c:pt>
                <c:pt idx="2">
                  <c:v>4240955</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25.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r>
                      <a:t>+20.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581</c:v>
                </c:pt>
                <c:pt idx="2">
                  <c:v>0.2008000000000000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21.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r>
                      <a:t>+15.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127</c:v>
                </c:pt>
                <c:pt idx="2">
                  <c:v>0.158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3386530627117138</c:v>
                </c:pt>
                <c:pt idx="1">
                  <c:v>0.19357160103085916</c:v>
                </c:pt>
                <c:pt idx="2">
                  <c:v>0.1795969781598693</c:v>
                </c:pt>
                <c:pt idx="3">
                  <c:v>0.1113166380091699</c:v>
                </c:pt>
                <c:pt idx="4">
                  <c:v>4.8615187735961768E-2</c:v>
                </c:pt>
                <c:pt idx="5">
                  <c:v>2.2320406658639106E-2</c:v>
                </c:pt>
                <c:pt idx="6">
                  <c:v>2.1425777110198843E-2</c:v>
                </c:pt>
                <c:pt idx="7">
                  <c:v>8.4500348583588125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6.1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9D1-4B10-A5A2-920595A3909E}"/>
                </c:ext>
              </c:extLst>
            </c:dLbl>
            <c:dLbl>
              <c:idx val="2"/>
              <c:tx>
                <c:rich>
                  <a:bodyPr/>
                  <a:lstStyle/>
                  <a:p>
                    <a:r>
                      <a:t>43.9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6059999999999999</c:v>
                </c:pt>
                <c:pt idx="2">
                  <c:v>0.4394000000000000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4.9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EE0-4FE2-B95A-77467036A79F}"/>
                </c:ext>
              </c:extLst>
            </c:dLbl>
            <c:dLbl>
              <c:idx val="2"/>
              <c:tx>
                <c:rich>
                  <a:bodyPr/>
                  <a:lstStyle/>
                  <a:p>
                    <a:r>
                      <a:t>45.1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4900000000000004</c:v>
                </c:pt>
                <c:pt idx="2">
                  <c:v>0.4510000000000000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39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22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942-4377-AA7E-75060A05E9F8}"/>
                </c:ext>
              </c:extLst>
            </c:dLbl>
            <c:dLbl>
              <c:idx val="2"/>
              <c:tx>
                <c:rich>
                  <a:bodyPr/>
                  <a:lstStyle/>
                  <a:p>
                    <a:r>
                      <a:t>17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395807795</c:v>
                </c:pt>
                <c:pt idx="1">
                  <c:v>221891116</c:v>
                </c:pt>
                <c:pt idx="2">
                  <c:v>173916679</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4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2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DC7-4F11-AD20-815DAC0E4734}"/>
                </c:ext>
              </c:extLst>
            </c:dLbl>
            <c:dLbl>
              <c:idx val="2"/>
              <c:tx>
                <c:rich>
                  <a:bodyPr/>
                  <a:lstStyle/>
                  <a:p>
                    <a:r>
                      <a:t>1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42927577</c:v>
                </c:pt>
                <c:pt idx="1">
                  <c:v>23567757</c:v>
                </c:pt>
                <c:pt idx="2">
                  <c:v>1935982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25.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r>
                      <a:t>+20.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581</c:v>
                </c:pt>
                <c:pt idx="2">
                  <c:v>0.2008000000000000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22.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r>
                      <a:t>+18.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2600000000000003</c:v>
                </c:pt>
                <c:pt idx="2">
                  <c:v>0.1804999999999999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0.7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91B-4D1B-8B71-A5AEBF0B7A49}"/>
                </c:ext>
              </c:extLst>
            </c:dLbl>
            <c:dLbl>
              <c:idx val="2"/>
              <c:tx>
                <c:rich>
                  <a:bodyPr/>
                  <a:lstStyle/>
                  <a:p>
                    <a:r>
                      <a:t>49.3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0700000000000001</c:v>
                </c:pt>
                <c:pt idx="2">
                  <c:v>0.4929999999999999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46.7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5F4-471F-908A-4751717B6587}"/>
                </c:ext>
              </c:extLst>
            </c:dLbl>
            <c:dLbl>
              <c:idx val="2"/>
              <c:tx>
                <c:rich>
                  <a:bodyPr/>
                  <a:lstStyle/>
                  <a:p>
                    <a:r>
                      <a:t>53.3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46660000000000001</c:v>
                </c:pt>
                <c:pt idx="2">
                  <c:v>0.5333999999999999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2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1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DF0-404D-B2C7-9EC10D2FC264}"/>
                </c:ext>
              </c:extLst>
            </c:dLbl>
            <c:dLbl>
              <c:idx val="2"/>
              <c:tx>
                <c:rich>
                  <a:bodyPr/>
                  <a:lstStyle/>
                  <a:p>
                    <a:r>
                      <a:t>1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20321674</c:v>
                </c:pt>
                <c:pt idx="1">
                  <c:v>10303675</c:v>
                </c:pt>
                <c:pt idx="2">
                  <c:v>10017999</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558-42F4-A63F-743BD99C712E}"/>
                </c:ext>
              </c:extLst>
            </c:dLbl>
            <c:dLbl>
              <c:idx val="2"/>
              <c:tx>
                <c:rich>
                  <a:bodyPr/>
                  <a:lstStyle/>
                  <a:p>
                    <a:r>
                      <a: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2208753</c:v>
                </c:pt>
                <c:pt idx="1">
                  <c:v>1030688</c:v>
                </c:pt>
                <c:pt idx="2">
                  <c:v>1178065</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9</c:f>
              <c:numCache>
                <c:formatCode>General</c:formatCode>
                <c:ptCount val="8"/>
                <c:pt idx="0">
                  <c:v>1.0389898676995912E-2</c:v>
                </c:pt>
                <c:pt idx="1">
                  <c:v>-1.8022814150592897E-2</c:v>
                </c:pt>
                <c:pt idx="2">
                  <c:v>4.4777614000326982E-4</c:v>
                </c:pt>
                <c:pt idx="3">
                  <c:v>5.2875750542460132E-3</c:v>
                </c:pt>
                <c:pt idx="4">
                  <c:v>-4.869431281933928E-3</c:v>
                </c:pt>
                <c:pt idx="5">
                  <c:v>2.570294480683211E-3</c:v>
                </c:pt>
                <c:pt idx="6">
                  <c:v>4.8804948451804959E-3</c:v>
                </c:pt>
                <c:pt idx="7">
                  <c:v>-6.8379376458210144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20.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r>
                      <a:t>+18.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0890000000000003</c:v>
                </c:pt>
                <c:pt idx="2">
                  <c:v>0.1811999999999999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17.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r>
                      <a:t>+15.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17349999999999999</c:v>
                </c:pt>
                <c:pt idx="2">
                  <c:v>0.159499999999999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0.7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6B3-420F-906B-AB407A9C4E7B}"/>
                </c:ext>
              </c:extLst>
            </c:dLbl>
            <c:dLbl>
              <c:idx val="2"/>
              <c:tx>
                <c:rich>
                  <a:bodyPr/>
                  <a:lstStyle/>
                  <a:p>
                    <a:r>
                      <a:t>49.3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0700000000000001</c:v>
                </c:pt>
                <c:pt idx="2">
                  <c:v>0.4929999999999999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0.7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991-4A57-B3F3-B460AC025B87}"/>
                </c:ext>
              </c:extLst>
            </c:dLbl>
            <c:dLbl>
              <c:idx val="2"/>
              <c:tx>
                <c:rich>
                  <a:bodyPr/>
                  <a:lstStyle/>
                  <a:p>
                    <a:r>
                      <a:t>49.3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0690000000000002</c:v>
                </c:pt>
                <c:pt idx="2">
                  <c:v>0.4930999999999999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2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1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7DC-449D-920A-0EC701A21010}"/>
                </c:ext>
              </c:extLst>
            </c:dLbl>
            <c:dLbl>
              <c:idx val="2"/>
              <c:tx>
                <c:rich>
                  <a:bodyPr/>
                  <a:lstStyle/>
                  <a:p>
                    <a:r>
                      <a:t>1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20321674</c:v>
                </c:pt>
                <c:pt idx="1">
                  <c:v>10303675</c:v>
                </c:pt>
                <c:pt idx="2">
                  <c:v>10017999</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1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F0F-4DDF-96C9-9856DD7E4749}"/>
                </c:ext>
              </c:extLst>
            </c:dLbl>
            <c:dLbl>
              <c:idx val="2"/>
              <c:tx>
                <c:rich>
                  <a:bodyPr/>
                  <a:lstStyle/>
                  <a:p>
                    <a:r>
                      <a:t>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4094050</c:v>
                </c:pt>
                <c:pt idx="1">
                  <c:v>7143856</c:v>
                </c:pt>
                <c:pt idx="2">
                  <c:v>695019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20.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r>
                      <a:t>+18.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0890000000000003</c:v>
                </c:pt>
                <c:pt idx="2">
                  <c:v>0.1811999999999999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22.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r>
                      <a:t>+16.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2410000000000002</c:v>
                </c:pt>
                <c:pt idx="2">
                  <c:v>0.1625999999999999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D8D-4A5A-8BE4-AB7592771924}"/>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1</c:v>
                </c:pt>
                <c:pt idx="1">
                  <c:v>1</c:v>
                </c:pt>
                <c:pt idx="2">
                  <c:v>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37C-4D29-88BC-CFDCC0B2E54B}"/>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1</c:v>
                </c:pt>
                <c:pt idx="1">
                  <c:v>1</c:v>
                </c:pt>
                <c:pt idx="2">
                  <c:v>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386530627117138</c:v>
                </c:pt>
                <c:pt idx="1">
                  <c:v>6.6711962686454018E-2</c:v>
                </c:pt>
                <c:pt idx="2">
                  <c:v>5.6780868038539302E-2</c:v>
                </c:pt>
                <c:pt idx="3">
                  <c:v>4.9568644304667293E-2</c:v>
                </c:pt>
                <c:pt idx="4">
                  <c:v>4.7503804968584987E-2</c:v>
                </c:pt>
                <c:pt idx="5">
                  <c:v>4.2760217379725837E-2</c:v>
                </c:pt>
                <c:pt idx="6">
                  <c:v>3.2536258353921307E-2</c:v>
                </c:pt>
                <c:pt idx="7">
                  <c:v>2.7294800172673491E-2</c:v>
                </c:pt>
                <c:pt idx="8">
                  <c:v>2.4384981500250473E-2</c:v>
                </c:pt>
                <c:pt idx="9">
                  <c:v>0.313805399883469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AFD-48E7-892D-D225E24AED68}"/>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8127698</c:v>
                </c:pt>
                <c:pt idx="1">
                  <c:v>8127698</c:v>
                </c:pt>
                <c:pt idx="2">
                  <c:v>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0.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0.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679-4B78-BB54-5EE7C3E4262A}"/>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47</c:v>
                </c:pt>
                <c:pt idx="1">
                  <c:v>47</c:v>
                </c:pt>
                <c:pt idx="2">
                  <c:v>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74.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0</c:v>
                </c:pt>
                <c:pt idx="1">
                  <c:v>0.74570000000000003</c:v>
                </c:pt>
                <c:pt idx="2">
                  <c:v>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99.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0</c:v>
                </c:pt>
                <c:pt idx="1">
                  <c:v>0.99919999999999998</c:v>
                </c:pt>
                <c:pt idx="2">
                  <c:v>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13B-4177-8413-68C1D8BFBE8D}"/>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1</c:v>
                </c:pt>
                <c:pt idx="1">
                  <c:v>1</c:v>
                </c:pt>
                <c:pt idx="2">
                  <c:v>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1C3-4D64-B00F-6929A6D4959C}"/>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1</c:v>
                </c:pt>
                <c:pt idx="1">
                  <c:v>1</c:v>
                </c:pt>
                <c:pt idx="2">
                  <c:v>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139-4FE1-A41E-167450F64534}"/>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8127698</c:v>
                </c:pt>
                <c:pt idx="1">
                  <c:v>8127698</c:v>
                </c:pt>
                <c:pt idx="2">
                  <c:v>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0.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0.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1E3-4EA9-821D-D0C3FB346DE4}"/>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173579</c:v>
                </c:pt>
                <c:pt idx="1">
                  <c:v>173579</c:v>
                </c:pt>
                <c:pt idx="2">
                  <c:v>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74.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0</c:v>
                </c:pt>
                <c:pt idx="1">
                  <c:v>0.74570000000000003</c:v>
                </c:pt>
                <c:pt idx="2">
                  <c:v>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72.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0</c:v>
                </c:pt>
                <c:pt idx="1">
                  <c:v>0.7268</c:v>
                </c:pt>
                <c:pt idx="2">
                  <c:v>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9</c:f>
              <c:numCache>
                <c:formatCode>General</c:formatCode>
                <c:ptCount val="8"/>
                <c:pt idx="0">
                  <c:v>-9.2456224966205314E-3</c:v>
                </c:pt>
                <c:pt idx="1">
                  <c:v>5.4099066231556303E-3</c:v>
                </c:pt>
                <c:pt idx="2">
                  <c:v>4.0484608820775536E-3</c:v>
                </c:pt>
                <c:pt idx="3">
                  <c:v>-8.8855627731015546E-3</c:v>
                </c:pt>
                <c:pt idx="4">
                  <c:v>-8.1319941151648117E-3</c:v>
                </c:pt>
                <c:pt idx="5">
                  <c:v>1.8653382479212159E-3</c:v>
                </c:pt>
                <c:pt idx="6">
                  <c:v>6.1303326344847343E-3</c:v>
                </c:pt>
                <c:pt idx="7">
                  <c:v>1.0791826721788968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EC4-43BA-8DA2-FBD0C70E654F}"/>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1</c:v>
                </c:pt>
                <c:pt idx="1">
                  <c:v>1</c:v>
                </c:pt>
                <c:pt idx="2">
                  <c:v>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356-4E02-B47C-E3F54D2395D3}"/>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1</c:v>
                </c:pt>
                <c:pt idx="1">
                  <c:v>1</c:v>
                </c:pt>
                <c:pt idx="2">
                  <c:v>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154-40F6-9E42-702EE4605BD6}"/>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8127698</c:v>
                </c:pt>
                <c:pt idx="1">
                  <c:v>8127698</c:v>
                </c:pt>
                <c:pt idx="2">
                  <c:v>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0.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0.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54E-49D9-BEAF-2D6A524674F2}"/>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173626</c:v>
                </c:pt>
                <c:pt idx="1">
                  <c:v>173626</c:v>
                </c:pt>
                <c:pt idx="2">
                  <c:v>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74.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0</c:v>
                </c:pt>
                <c:pt idx="1">
                  <c:v>0.74570000000000003</c:v>
                </c:pt>
                <c:pt idx="2">
                  <c:v>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94.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Intermarche</c:v>
                </c:pt>
                <c:pt idx="2">
                  <c:v>Carrefour</c:v>
                </c:pt>
              </c:strCache>
            </c:strRef>
          </c:cat>
          <c:val>
            <c:numRef>
              <c:f>Sheet1!$B$2:$B$4</c:f>
              <c:numCache>
                <c:formatCode>General</c:formatCode>
                <c:ptCount val="3"/>
                <c:pt idx="0">
                  <c:v>0</c:v>
                </c:pt>
                <c:pt idx="1">
                  <c:v>0.94899999999999995</c:v>
                </c:pt>
                <c:pt idx="2">
                  <c:v>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5.3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11A-449E-83FF-B7D0D4D52488}"/>
                </c:ext>
              </c:extLst>
            </c:dLbl>
            <c:dLbl>
              <c:idx val="2"/>
              <c:tx>
                <c:rich>
                  <a:bodyPr/>
                  <a:lstStyle/>
                  <a:p>
                    <a:r>
                      <a:t>44.7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5330000000000001</c:v>
                </c:pt>
                <c:pt idx="2">
                  <c:v>0.4466999999999999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4.7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B53-4CD2-B864-EBCC94173664}"/>
                </c:ext>
              </c:extLst>
            </c:dLbl>
            <c:dLbl>
              <c:idx val="2"/>
              <c:tx>
                <c:rich>
                  <a:bodyPr/>
                  <a:lstStyle/>
                  <a:p>
                    <a:r>
                      <a:t>45.3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4710000000000003</c:v>
                </c:pt>
                <c:pt idx="2">
                  <c:v>0.4529000000000000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4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2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E73-43C5-8C0D-248395B13866}"/>
                </c:ext>
              </c:extLst>
            </c:dLbl>
            <c:dLbl>
              <c:idx val="2"/>
              <c:tx>
                <c:rich>
                  <a:bodyPr/>
                  <a:lstStyle/>
                  <a:p>
                    <a:r>
                      <a:t>2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43709441</c:v>
                </c:pt>
                <c:pt idx="1">
                  <c:v>24183221</c:v>
                </c:pt>
                <c:pt idx="2">
                  <c:v>1952622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1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CC7-40EC-9221-D17DF3CE236A}"/>
                </c:ext>
              </c:extLst>
            </c:dLbl>
            <c:dLbl>
              <c:idx val="2"/>
              <c:tx>
                <c:rich>
                  <a:bodyPr/>
                  <a:lstStyle/>
                  <a:p>
                    <a:r>
                      <a:t>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097732</c:v>
                </c:pt>
                <c:pt idx="1">
                  <c:v>5524817</c:v>
                </c:pt>
                <c:pt idx="2">
                  <c:v>4572915</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40569090675550901</c:v>
                </c:pt>
                <c:pt idx="1">
                  <c:v>4.859106212569865E-2</c:v>
                </c:pt>
                <c:pt idx="2">
                  <c:v>3.9478895361493557E-2</c:v>
                </c:pt>
                <c:pt idx="3">
                  <c:v>3.5499338074804689E-2</c:v>
                </c:pt>
                <c:pt idx="4">
                  <c:v>3.2236279623140934E-2</c:v>
                </c:pt>
                <c:pt idx="5">
                  <c:v>3.0606484849617605E-2</c:v>
                </c:pt>
                <c:pt idx="6">
                  <c:v>2.3268765206144144E-2</c:v>
                </c:pt>
                <c:pt idx="7">
                  <c:v>1.9047137546876418E-2</c:v>
                </c:pt>
                <c:pt idx="8">
                  <c:v>1.6948738299408298E-2</c:v>
                </c:pt>
                <c:pt idx="9">
                  <c:v>0.3486323921573066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11</c:f>
              <c:numCache>
                <c:formatCode>General</c:formatCode>
                <c:ptCount val="10"/>
                <c:pt idx="0">
                  <c:v>-9.2456224966205314E-3</c:v>
                </c:pt>
                <c:pt idx="1">
                  <c:v>1.4351960879716838E-2</c:v>
                </c:pt>
                <c:pt idx="2">
                  <c:v>-1.1339471987399714E-2</c:v>
                </c:pt>
                <c:pt idx="3">
                  <c:v>7.4406357138199694E-3</c:v>
                </c:pt>
                <c:pt idx="4">
                  <c:v>-8.0001311416343437E-3</c:v>
                </c:pt>
                <c:pt idx="5">
                  <c:v>-7.5386987005195832E-4</c:v>
                </c:pt>
                <c:pt idx="6">
                  <c:v>9.9653007833398061E-4</c:v>
                </c:pt>
                <c:pt idx="7">
                  <c:v>-6.2275259774458372E-4</c:v>
                </c:pt>
                <c:pt idx="8">
                  <c:v>-4.2078172746329336E-3</c:v>
                </c:pt>
                <c:pt idx="9">
                  <c:v>1.336330985500194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23.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r>
                      <a:t>+19.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3920000000000002</c:v>
                </c:pt>
                <c:pt idx="2">
                  <c:v>0.193899999999999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22.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r>
                      <a:t>+18.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2660000000000002</c:v>
                </c:pt>
                <c:pt idx="2">
                  <c:v>0.182500000000000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5.3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54B-473A-8E75-499173F89C81}"/>
                </c:ext>
              </c:extLst>
            </c:dLbl>
            <c:dLbl>
              <c:idx val="2"/>
              <c:tx>
                <c:rich>
                  <a:bodyPr/>
                  <a:lstStyle/>
                  <a:p>
                    <a:r>
                      <a:t>44.7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5330000000000001</c:v>
                </c:pt>
                <c:pt idx="2">
                  <c:v>0.4466999999999999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4.4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DAB-40A1-A4CE-C282BC63089B}"/>
                </c:ext>
              </c:extLst>
            </c:dLbl>
            <c:dLbl>
              <c:idx val="2"/>
              <c:tx>
                <c:rich>
                  <a:bodyPr/>
                  <a:lstStyle/>
                  <a:p>
                    <a:r>
                      <a:t>45.6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4369999999999996</c:v>
                </c:pt>
                <c:pt idx="2">
                  <c:v>0.4562999999999999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4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2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970-4299-B9A9-B5D6368A6CFD}"/>
                </c:ext>
              </c:extLst>
            </c:dLbl>
            <c:dLbl>
              <c:idx val="2"/>
              <c:tx>
                <c:rich>
                  <a:bodyPr/>
                  <a:lstStyle/>
                  <a:p>
                    <a:r>
                      <a:t>2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43709441</c:v>
                </c:pt>
                <c:pt idx="1">
                  <c:v>24183221</c:v>
                </c:pt>
                <c:pt idx="2">
                  <c:v>1952622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1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D2C-48B0-821B-3A02D024560B}"/>
                </c:ext>
              </c:extLst>
            </c:dLbl>
            <c:dLbl>
              <c:idx val="2"/>
              <c:tx>
                <c:rich>
                  <a:bodyPr/>
                  <a:lstStyle/>
                  <a:p>
                    <a:r>
                      <a:t>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2399708</c:v>
                </c:pt>
                <c:pt idx="1">
                  <c:v>6741110</c:v>
                </c:pt>
                <c:pt idx="2">
                  <c:v>5658598</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23.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r>
                      <a:t>+19.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3920000000000002</c:v>
                </c:pt>
                <c:pt idx="2">
                  <c:v>0.193899999999999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19.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r>
                      <a:t>+21.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19639999999999996</c:v>
                </c:pt>
                <c:pt idx="2">
                  <c:v>0.212599999999999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5.3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565-4BD1-9B1E-AA657EAD07A1}"/>
                </c:ext>
              </c:extLst>
            </c:dLbl>
            <c:dLbl>
              <c:idx val="2"/>
              <c:tx>
                <c:rich>
                  <a:bodyPr/>
                  <a:lstStyle/>
                  <a:p>
                    <a:r>
                      <a:t>44.7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5330000000000001</c:v>
                </c:pt>
                <c:pt idx="2">
                  <c:v>0.4466999999999999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5.9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32B-4884-84FB-EC552D3F6E59}"/>
                </c:ext>
              </c:extLst>
            </c:dLbl>
            <c:dLbl>
              <c:idx val="2"/>
              <c:tx>
                <c:rich>
                  <a:bodyPr/>
                  <a:lstStyle/>
                  <a:p>
                    <a:r>
                      <a:t>44.1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5889999999999995</c:v>
                </c:pt>
                <c:pt idx="2">
                  <c:v>0.4410999999999999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67528016868896001</c:v>
                </c:pt>
                <c:pt idx="1">
                  <c:v>0.21625759194103711</c:v>
                </c:pt>
                <c:pt idx="2">
                  <c:v>6.7566680179050848E-2</c:v>
                </c:pt>
                <c:pt idx="3">
                  <c:v>1.2148220824118447E-2</c:v>
                </c:pt>
                <c:pt idx="4">
                  <c:v>2.874733836683355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4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2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B76-42CD-858C-BC99D162FADF}"/>
                </c:ext>
              </c:extLst>
            </c:dLbl>
            <c:dLbl>
              <c:idx val="2"/>
              <c:tx>
                <c:rich>
                  <a:bodyPr/>
                  <a:lstStyle/>
                  <a:p>
                    <a:r>
                      <a:t>2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43709441</c:v>
                </c:pt>
                <c:pt idx="1">
                  <c:v>24183221</c:v>
                </c:pt>
                <c:pt idx="2">
                  <c:v>1952622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3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1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49E-4F98-9E12-3EFF6486BDF3}"/>
                </c:ext>
              </c:extLst>
            </c:dLbl>
            <c:dLbl>
              <c:idx val="2"/>
              <c:tx>
                <c:rich>
                  <a:bodyPr/>
                  <a:lstStyle/>
                  <a:p>
                    <a:r>
                      <a:t>1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33880143</c:v>
                </c:pt>
                <c:pt idx="1">
                  <c:v>18935384</c:v>
                </c:pt>
                <c:pt idx="2">
                  <c:v>14944759</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23.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r>
                      <a:t>+19.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3920000000000002</c:v>
                </c:pt>
                <c:pt idx="2">
                  <c:v>0.193899999999999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23.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r>
                      <a:t>+18.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3059999999999997</c:v>
                </c:pt>
                <c:pt idx="2">
                  <c:v>0.1862999999999999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3.5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684-4009-A880-BBF4596B5C1B}"/>
                </c:ext>
              </c:extLst>
            </c:dLbl>
            <c:dLbl>
              <c:idx val="2"/>
              <c:tx>
                <c:rich>
                  <a:bodyPr/>
                  <a:lstStyle/>
                  <a:p>
                    <a:r>
                      <a:t>46.5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3539999999999999</c:v>
                </c:pt>
                <c:pt idx="2">
                  <c:v>0.4646000000000000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63.8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F26-4941-B73F-5182B4AB16D5}"/>
                </c:ext>
              </c:extLst>
            </c:dLbl>
            <c:dLbl>
              <c:idx val="2"/>
              <c:tx>
                <c:rich>
                  <a:bodyPr/>
                  <a:lstStyle/>
                  <a:p>
                    <a:r>
                      <a:t>36.2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63800000000000001</c:v>
                </c:pt>
                <c:pt idx="2">
                  <c:v>0.3619999999999999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5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3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ECE-4986-ADEA-9BFC1441659B}"/>
                </c:ext>
              </c:extLst>
            </c:dLbl>
            <c:dLbl>
              <c:idx val="2"/>
              <c:tx>
                <c:rich>
                  <a:bodyPr/>
                  <a:lstStyle/>
                  <a:p>
                    <a:r>
                      <a:t>2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55397184</c:v>
                </c:pt>
                <c:pt idx="1">
                  <c:v>29660078</c:v>
                </c:pt>
                <c:pt idx="2">
                  <c:v>25737106</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0.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0.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836-4DA4-A602-D2D1CC9F7A00}"/>
                </c:ext>
              </c:extLst>
            </c:dLbl>
            <c:dLbl>
              <c:idx val="2"/>
              <c:tx>
                <c:rich>
                  <a:bodyPr/>
                  <a:lstStyle/>
                  <a:p>
                    <a:r>
                      <a:t>0.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480972</c:v>
                </c:pt>
                <c:pt idx="1">
                  <c:v>306866</c:v>
                </c:pt>
                <c:pt idx="2">
                  <c:v>174106</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24.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r>
                      <a:t>+20.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4109999999999998</c:v>
                </c:pt>
                <c:pt idx="2">
                  <c:v>0.2085000000000000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20.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r>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0240000000000002</c:v>
                </c:pt>
                <c:pt idx="2">
                  <c:v>0.106699999999999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6</c:f>
              <c:numCache>
                <c:formatCode>General</c:formatCode>
                <c:ptCount val="5"/>
                <c:pt idx="0">
                  <c:v>6.4963525839958347E-3</c:v>
                </c:pt>
                <c:pt idx="1">
                  <c:v>-1.9979015504672959E-2</c:v>
                </c:pt>
                <c:pt idx="2">
                  <c:v>1.2934717455162843E-2</c:v>
                </c:pt>
                <c:pt idx="3">
                  <c:v>-1.9920678828798943E-3</c:v>
                </c:pt>
                <c:pt idx="4">
                  <c:v>2.907084541314386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3.5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BE7-462E-ABD9-B5220EA3F154}"/>
                </c:ext>
              </c:extLst>
            </c:dLbl>
            <c:dLbl>
              <c:idx val="2"/>
              <c:tx>
                <c:rich>
                  <a:bodyPr/>
                  <a:lstStyle/>
                  <a:p>
                    <a:r>
                      <a:t>46.5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3539999999999999</c:v>
                </c:pt>
                <c:pt idx="2">
                  <c:v>0.4646000000000000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883-485D-80F9-1DEA9FF946D2}"/>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1</c:v>
                </c:pt>
                <c:pt idx="2">
                  <c:v>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5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3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C34-40C1-BD22-FC40697F7A63}"/>
                </c:ext>
              </c:extLst>
            </c:dLbl>
            <c:dLbl>
              <c:idx val="2"/>
              <c:tx>
                <c:rich>
                  <a:bodyPr/>
                  <a:lstStyle/>
                  <a:p>
                    <a:r>
                      <a:t>2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55397184</c:v>
                </c:pt>
                <c:pt idx="1">
                  <c:v>29660078</c:v>
                </c:pt>
                <c:pt idx="2">
                  <c:v>25737106</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0.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0.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A9E-4BE4-A1C5-F5227FB10AA5}"/>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26</c:v>
                </c:pt>
                <c:pt idx="1">
                  <c:v>26</c:v>
                </c:pt>
                <c:pt idx="2">
                  <c:v>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24.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r>
                      <a:t>+20.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4109999999999998</c:v>
                </c:pt>
                <c:pt idx="2">
                  <c:v>0.2085000000000000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c:v>
                </c:pt>
                <c:pt idx="2">
                  <c:v>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3.5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780-4562-9123-FF671C7B32E0}"/>
                </c:ext>
              </c:extLst>
            </c:dLbl>
            <c:dLbl>
              <c:idx val="2"/>
              <c:tx>
                <c:rich>
                  <a:bodyPr/>
                  <a:lstStyle/>
                  <a:p>
                    <a:r>
                      <a:t>46.5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3539999999999999</c:v>
                </c:pt>
                <c:pt idx="2">
                  <c:v>0.4646000000000000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46.7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B6A-4C5A-9A57-D03621CAFDD6}"/>
                </c:ext>
              </c:extLst>
            </c:dLbl>
            <c:dLbl>
              <c:idx val="2"/>
              <c:tx>
                <c:rich>
                  <a:bodyPr/>
                  <a:lstStyle/>
                  <a:p>
                    <a:r>
                      <a:t>53.3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4667</c:v>
                </c:pt>
                <c:pt idx="2">
                  <c:v>0.533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5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3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4DF-44D3-AF66-1EB5FB902E70}"/>
                </c:ext>
              </c:extLst>
            </c:dLbl>
            <c:dLbl>
              <c:idx val="2"/>
              <c:tx>
                <c:rich>
                  <a:bodyPr/>
                  <a:lstStyle/>
                  <a:p>
                    <a:r>
                      <a:t>2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55397184</c:v>
                </c:pt>
                <c:pt idx="1">
                  <c:v>29660078</c:v>
                </c:pt>
                <c:pt idx="2">
                  <c:v>25737106</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67F-4463-8F82-B8491AA4368D}"/>
                </c:ext>
              </c:extLst>
            </c:dLbl>
            <c:dLbl>
              <c:idx val="2"/>
              <c:tx>
                <c:rich>
                  <a:bodyPr/>
                  <a:lstStyle/>
                  <a:p>
                    <a:r>
                      <a:t>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6504719</c:v>
                </c:pt>
                <c:pt idx="1">
                  <c:v>3035900</c:v>
                </c:pt>
                <c:pt idx="2">
                  <c:v>3468819</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587042502292212</c:v>
                </c:pt>
                <c:pt idx="1">
                  <c:v>0.16318977189908423</c:v>
                </c:pt>
                <c:pt idx="2">
                  <c:v>8.8237666396748043E-2</c:v>
                </c:pt>
                <c:pt idx="3">
                  <c:v>6.7566680179050848E-2</c:v>
                </c:pt>
                <c:pt idx="4">
                  <c:v>5.2000022376420457E-2</c:v>
                </c:pt>
                <c:pt idx="5">
                  <c:v>4.1963356856484405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24.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r>
                      <a:t>+20.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4109999999999998</c:v>
                </c:pt>
                <c:pt idx="2">
                  <c:v>0.2085000000000000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20.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r>
                      <a:t>+17.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0279999999999998</c:v>
                </c:pt>
                <c:pt idx="2">
                  <c:v>0.1791999999999999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3.5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DEE-46FB-80D2-676CC8BA91EA}"/>
                </c:ext>
              </c:extLst>
            </c:dLbl>
            <c:dLbl>
              <c:idx val="2"/>
              <c:tx>
                <c:rich>
                  <a:bodyPr/>
                  <a:lstStyle/>
                  <a:p>
                    <a:r>
                      <a:t>46.5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3539999999999999</c:v>
                </c:pt>
                <c:pt idx="2">
                  <c:v>0.4646000000000000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47.9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81F-4E0F-BAB1-17D6837B4112}"/>
                </c:ext>
              </c:extLst>
            </c:dLbl>
            <c:dLbl>
              <c:idx val="2"/>
              <c:tx>
                <c:rich>
                  <a:bodyPr/>
                  <a:lstStyle/>
                  <a:p>
                    <a:r>
                      <a:t>52.1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47849999999999998</c:v>
                </c:pt>
                <c:pt idx="2">
                  <c:v>0.5214999999999999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5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3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EDC-4B22-992F-61DAC1AA0387}"/>
                </c:ext>
              </c:extLst>
            </c:dLbl>
            <c:dLbl>
              <c:idx val="2"/>
              <c:tx>
                <c:rich>
                  <a:bodyPr/>
                  <a:lstStyle/>
                  <a:p>
                    <a:r>
                      <a:t>2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55397184</c:v>
                </c:pt>
                <c:pt idx="1">
                  <c:v>29660078</c:v>
                </c:pt>
                <c:pt idx="2">
                  <c:v>25737106</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DC1-4217-BCA5-444F06657CE6}"/>
                </c:ext>
              </c:extLst>
            </c:dLbl>
            <c:dLbl>
              <c:idx val="2"/>
              <c:tx>
                <c:rich>
                  <a:bodyPr/>
                  <a:lstStyle/>
                  <a:p>
                    <a:r>
                      <a:t>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6985717</c:v>
                </c:pt>
                <c:pt idx="1">
                  <c:v>3342792</c:v>
                </c:pt>
                <c:pt idx="2">
                  <c:v>3642925</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24.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r>
                      <a:t>+20.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4109999999999998</c:v>
                </c:pt>
                <c:pt idx="2">
                  <c:v>0.2085000000000000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19.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r>
                      <a:t>+17.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1981</c:v>
                </c:pt>
                <c:pt idx="2">
                  <c:v>0.1768999999999999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8.7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02B-4EBD-B94B-844F581EDABC}"/>
                </c:ext>
              </c:extLst>
            </c:dLbl>
            <c:dLbl>
              <c:idx val="2"/>
              <c:tx>
                <c:rich>
                  <a:bodyPr/>
                  <a:lstStyle/>
                  <a:p>
                    <a:r>
                      <a:t>41.3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8720000000000006</c:v>
                </c:pt>
                <c:pt idx="2">
                  <c:v>0.412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62.5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9F4-4A07-94B1-354D3A5B4590}"/>
                </c:ext>
              </c:extLst>
            </c:dLbl>
            <c:dLbl>
              <c:idx val="2"/>
              <c:tx>
                <c:rich>
                  <a:bodyPr/>
                  <a:lstStyle/>
                  <a:p>
                    <a:r>
                      <a:t>37.5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62539999999999996</c:v>
                </c:pt>
                <c:pt idx="2">
                  <c:v>0.3745999999999999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6</c:f>
              <c:numCache>
                <c:formatCode>General</c:formatCode>
                <c:ptCount val="5"/>
                <c:pt idx="0">
                  <c:v>-3.4399031308839811E-2</c:v>
                </c:pt>
                <c:pt idx="1">
                  <c:v>2.3629650874920166E-2</c:v>
                </c:pt>
                <c:pt idx="2">
                  <c:v>5.7247232805719694E-3</c:v>
                </c:pt>
                <c:pt idx="3">
                  <c:v>1.088059970338548E-3</c:v>
                </c:pt>
                <c:pt idx="4">
                  <c:v>3.9565971830091357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1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8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8F9-416B-8645-AFB0A0036D0F}"/>
                </c:ext>
              </c:extLst>
            </c:dLbl>
            <c:dLbl>
              <c:idx val="2"/>
              <c:tx>
                <c:rich>
                  <a:bodyPr/>
                  <a:lstStyle/>
                  <a:p>
                    <a:r>
                      <a:t>5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36013747</c:v>
                </c:pt>
                <c:pt idx="1">
                  <c:v>79861894</c:v>
                </c:pt>
                <c:pt idx="2">
                  <c:v>56151853</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CAD-43EB-AF11-339FAAA1D579}"/>
                </c:ext>
              </c:extLst>
            </c:dLbl>
            <c:dLbl>
              <c:idx val="2"/>
              <c:tx>
                <c:rich>
                  <a:bodyPr/>
                  <a:lstStyle/>
                  <a:p>
                    <a:r>
                      <a: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2061476</c:v>
                </c:pt>
                <c:pt idx="1">
                  <c:v>1289340</c:v>
                </c:pt>
                <c:pt idx="2">
                  <c:v>772136</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27.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r>
                      <a:t>+19.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7530000000000004</c:v>
                </c:pt>
                <c:pt idx="2">
                  <c:v>0.1991999999999999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24.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r>
                      <a:t>+9.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4009999999999998</c:v>
                </c:pt>
                <c:pt idx="2">
                  <c:v>9.4499999999999973E-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58.7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95E-4F1D-B6DA-EE62183E18E6}"/>
                </c:ext>
              </c:extLst>
            </c:dLbl>
            <c:dLbl>
              <c:idx val="2"/>
              <c:tx>
                <c:rich>
                  <a:bodyPr/>
                  <a:lstStyle/>
                  <a:p>
                    <a:r>
                      <a:t>41.3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58720000000000006</c:v>
                </c:pt>
                <c:pt idx="2">
                  <c:v>0.412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r>
                      <a:t>10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E-7C48-A027-7E07C8448CCC}"/>
                </c:ext>
              </c:extLst>
            </c:dLbl>
            <c:dLbl>
              <c:idx val="1"/>
              <c:tx>
                <c:rich>
                  <a:bodyPr/>
                  <a:lstStyle/>
                  <a:p>
                    <a:r>
                      <a:t>62.5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84-4BBE-881A-B10EA7DDFC7C}"/>
                </c:ext>
              </c:extLst>
            </c:dLbl>
            <c:dLbl>
              <c:idx val="2"/>
              <c:tx>
                <c:rich>
                  <a:bodyPr/>
                  <a:lstStyle/>
                  <a:p>
                    <a:r>
                      <a:t>37.5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1C-1B4A-8D77-7C0243C510E1}"/>
                </c:ext>
              </c:extLst>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c:v>
                </c:pt>
                <c:pt idx="1">
                  <c:v>0.62539999999999996</c:v>
                </c:pt>
                <c:pt idx="2">
                  <c:v>0.3745999999999999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r>
                      <a:t>1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D7-41E2-8234-8864FBC77A89}"/>
                </c:ext>
              </c:extLst>
            </c:dLbl>
            <c:dLbl>
              <c:idx val="1"/>
              <c:tx>
                <c:rich>
                  <a:bodyPr/>
                  <a:lstStyle/>
                  <a:p>
                    <a:r>
                      <a:t>8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4E2-4C26-BAE0-3637D4D914FE}"/>
                </c:ext>
              </c:extLst>
            </c:dLbl>
            <c:dLbl>
              <c:idx val="2"/>
              <c:tx>
                <c:rich>
                  <a:bodyPr/>
                  <a:lstStyle/>
                  <a:p>
                    <a:r>
                      <a:t>5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D7-41E2-8234-8864FBC77A89}"/>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36013747</c:v>
                </c:pt>
                <c:pt idx="1">
                  <c:v>79861894</c:v>
                </c:pt>
                <c:pt idx="2">
                  <c:v>56151853</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r>
                      <a:t>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659-4CA0-9C26-0EA89126C18E}"/>
                </c:ext>
              </c:extLst>
            </c:dLbl>
            <c:dLbl>
              <c:idx val="1"/>
              <c:tx>
                <c:rich>
                  <a:bodyPr/>
                  <a:lstStyle/>
                  <a:p>
                    <a:r>
                      <a: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288-49C4-939D-243C398AFF28}"/>
                </c:ext>
              </c:extLst>
            </c:dLbl>
            <c:dLbl>
              <c:idx val="2"/>
              <c:tx>
                <c:rich>
                  <a:bodyPr/>
                  <a:lstStyle/>
                  <a:p>
                    <a:r>
                      <a: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59-4CA0-9C26-0EA89126C18E}"/>
                </c:ext>
              </c:extLst>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2061476</c:v>
                </c:pt>
                <c:pt idx="1">
                  <c:v>1289340</c:v>
                </c:pt>
                <c:pt idx="2">
                  <c:v>772136</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60-4508-BA80-9CD1D30EF006}"/>
                </c:ext>
              </c:extLst>
            </c:dLbl>
            <c:dLbl>
              <c:idx val="1"/>
              <c:tx>
                <c:rich>
                  <a:bodyPr/>
                  <a:lstStyle/>
                  <a:p>
                    <a:r>
                      <a:t>+27.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FA-4046-9F96-F8B0F3C1321B}"/>
                </c:ext>
              </c:extLst>
            </c:dLbl>
            <c:dLbl>
              <c:idx val="2"/>
              <c:tx>
                <c:rich>
                  <a:bodyPr/>
                  <a:lstStyle/>
                  <a:p>
                    <a:r>
                      <a:t>+19.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FA-4046-9F96-F8B0F3C1321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7530000000000004</c:v>
                </c:pt>
                <c:pt idx="2">
                  <c:v>0.1991999999999999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EF-4AAE-B747-39856A6177F4}"/>
                </c:ext>
              </c:extLst>
            </c:dLbl>
            <c:dLbl>
              <c:idx val="1"/>
              <c:tx>
                <c:rich>
                  <a:bodyPr/>
                  <a:lstStyle/>
                  <a:p>
                    <a:r>
                      <a:t>+24.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F2-4774-A9B3-59BCC6837E98}"/>
                </c:ext>
              </c:extLst>
            </c:dLbl>
            <c:dLbl>
              <c:idx val="2"/>
              <c:tx>
                <c:rich>
                  <a:bodyPr/>
                  <a:lstStyle/>
                  <a:p>
                    <a:r>
                      <a:t>+9.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F2-4774-A9B3-59BCC6837E98}"/>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c:v>
                </c:pt>
                <c:pt idx="1">
                  <c:v>0.24009999999999998</c:v>
                </c:pt>
                <c:pt idx="2">
                  <c:v>9.4499999999999973E-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7</c:f>
              <c:numCache>
                <c:formatCode>General</c:formatCode>
                <c:ptCount val="6"/>
                <c:pt idx="0">
                  <c:v>-2.2406606317287969E-2</c:v>
                </c:pt>
                <c:pt idx="1">
                  <c:v>2.0919549963927864E-2</c:v>
                </c:pt>
                <c:pt idx="2">
                  <c:v>-1.1992424991551856E-2</c:v>
                </c:pt>
                <c:pt idx="3">
                  <c:v>5.7247232805719694E-3</c:v>
                </c:pt>
                <c:pt idx="4">
                  <c:v>1.6423032454598932E-3</c:v>
                </c:pt>
                <c:pt idx="5">
                  <c:v>6.1124548188800877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E60C03D3-F9D6-40AB-983A-F9FD26EDD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0C8D7C91-046F-4921-B78D-47EDD04720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58A7BD1C-6515-4377-8C65-A97E10CE9A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471CCE8E-9EC7-4559-A503-2E8E013D2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1CDD3D7C-D5C9-4EEA-82A3-85E71BB89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97BD6315-C623-473B-B40B-EA2972A84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663ED1FC-5A61-4B9B-A546-731A40962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6859B702-0051-4E6C-ACF0-ED975289E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BADB103D-7032-4BD4-9266-4EAAC14F9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120B10A0-EF03-49EB-8D74-467DE2EBA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25A62269-6A53-483B-A25D-1C34369B9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7EF372A2-DE8D-4774-A23D-6627664B5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2B3-43D4-BD21-895ACA67225E}"/>
                </c:ext>
              </c:extLst>
            </c:dLbl>
            <c:dLbl>
              <c:idx val="13"/>
              <c:tx>
                <c:rich>
                  <a:bodyPr/>
                  <a:lstStyle/>
                  <a:p>
                    <a:fld id="{44C1DD43-6C6B-474D-A4BA-B67EACCB8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2B3-43D4-BD21-895ACA67225E}"/>
                </c:ext>
              </c:extLst>
            </c:dLbl>
            <c:dLbl>
              <c:idx val="14"/>
              <c:tx>
                <c:rich>
                  <a:bodyPr/>
                  <a:lstStyle/>
                  <a:p>
                    <a:fld id="{5EC8D4DB-B812-4A7C-B8BF-3238C654B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2B3-43D4-BD21-895ACA67225E}"/>
                </c:ext>
              </c:extLst>
            </c:dLbl>
            <c:dLbl>
              <c:idx val="15"/>
              <c:tx>
                <c:rich>
                  <a:bodyPr/>
                  <a:lstStyle/>
                  <a:p>
                    <a:fld id="{8FC0C19E-1B87-48D9-9923-B9E6ED25F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2B3-43D4-BD21-895ACA67225E}"/>
                </c:ext>
              </c:extLst>
            </c:dLbl>
            <c:dLbl>
              <c:idx val="16"/>
              <c:tx>
                <c:rich>
                  <a:bodyPr/>
                  <a:lstStyle/>
                  <a:p>
                    <a:fld id="{042E1371-3464-414C-BEF3-42EF9601F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2B3-43D4-BD21-895ACA67225E}"/>
                </c:ext>
              </c:extLst>
            </c:dLbl>
            <c:dLbl>
              <c:idx val="17"/>
              <c:tx>
                <c:rich>
                  <a:bodyPr/>
                  <a:lstStyle/>
                  <a:p>
                    <a:fld id="{612E9B76-C74D-44F4-A838-127474C99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2B3-43D4-BD21-895ACA67225E}"/>
                </c:ext>
              </c:extLst>
            </c:dLbl>
            <c:dLbl>
              <c:idx val="18"/>
              <c:tx>
                <c:rich>
                  <a:bodyPr/>
                  <a:lstStyle/>
                  <a:p>
                    <a:fld id="{E2A21BCA-7B80-4C6F-85F1-645FDA004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2B3-43D4-BD21-895ACA67225E}"/>
                </c:ext>
              </c:extLst>
            </c:dLbl>
            <c:dLbl>
              <c:idx val="19"/>
              <c:tx>
                <c:rich>
                  <a:bodyPr/>
                  <a:lstStyle/>
                  <a:p>
                    <a:fld id="{5262BB42-D0E8-4C87-90C3-5E9C825DF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2B3-43D4-BD21-895ACA67225E}"/>
                </c:ext>
              </c:extLst>
            </c:dLbl>
            <c:dLbl>
              <c:idx val="20"/>
              <c:tx>
                <c:rich>
                  <a:bodyPr/>
                  <a:lstStyle/>
                  <a:p>
                    <a:fld id="{12507AD6-B042-4980-A3F7-691BAED45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2B3-43D4-BD21-895ACA67225E}"/>
                </c:ext>
              </c:extLst>
            </c:dLbl>
            <c:dLbl>
              <c:idx val="21"/>
              <c:tx>
                <c:rich>
                  <a:bodyPr/>
                  <a:lstStyle/>
                  <a:p>
                    <a:fld id="{9E81A4BF-AFC3-4432-A7DF-4AF90EEA48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6A5-42F8-9CB2-D500C2C49522}"/>
                </c:ext>
              </c:extLst>
            </c:dLbl>
            <c:dLbl>
              <c:idx val="22"/>
              <c:tx>
                <c:rich>
                  <a:bodyPr/>
                  <a:lstStyle/>
                  <a:p>
                    <a:fld id="{DF64DB46-D446-42EC-ADA3-4A9C5916C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6A5-42F8-9CB2-D500C2C49522}"/>
                </c:ext>
              </c:extLst>
            </c:dLbl>
            <c:dLbl>
              <c:idx val="23"/>
              <c:tx>
                <c:rich>
                  <a:bodyPr/>
                  <a:lstStyle/>
                  <a:p>
                    <a:fld id="{D18D4BBC-9A58-48B0-94E3-82A969FA1B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79-43B7-8A1A-3B973BF29255}"/>
                </c:ext>
              </c:extLst>
            </c:dLbl>
            <c:dLbl>
              <c:idx val="24"/>
              <c:tx>
                <c:rich>
                  <a:bodyPr/>
                  <a:lstStyle/>
                  <a:p>
                    <a:fld id="{B13DB4FD-0A38-4689-80A6-5F852CA49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79-43B7-8A1A-3B973BF29255}"/>
                </c:ext>
              </c:extLst>
            </c:dLbl>
            <c:dLbl>
              <c:idx val="25"/>
              <c:tx>
                <c:rich>
                  <a:bodyPr/>
                  <a:lstStyle/>
                  <a:p>
                    <a:fld id="{12B0F808-9C69-4ADA-8C95-78C93E61E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79-43B7-8A1A-3B973BF29255}"/>
                </c:ext>
              </c:extLst>
            </c:dLbl>
            <c:dLbl>
              <c:idx val="26"/>
              <c:tx>
                <c:rich>
                  <a:bodyPr/>
                  <a:lstStyle/>
                  <a:p>
                    <a:fld id="{47891032-58D4-4F7E-B239-ED2702EA26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79-43B7-8A1A-3B973BF29255}"/>
                </c:ext>
              </c:extLst>
            </c:dLbl>
            <c:dLbl>
              <c:idx val="27"/>
              <c:tx>
                <c:rich>
                  <a:bodyPr/>
                  <a:lstStyle/>
                  <a:p>
                    <a:fld id="{57EA3AD0-613E-4C3B-814F-E518BB8C1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79-43B7-8A1A-3B973BF29255}"/>
                </c:ext>
              </c:extLst>
            </c:dLbl>
            <c:dLbl>
              <c:idx val="28"/>
              <c:tx>
                <c:rich>
                  <a:bodyPr/>
                  <a:lstStyle/>
                  <a:p>
                    <a:fld id="{1245D452-BBFD-47E9-B2F2-64BFDFA81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FE79-43B7-8A1A-3B973BF29255}"/>
                </c:ext>
              </c:extLst>
            </c:dLbl>
            <c:dLbl>
              <c:idx val="29"/>
              <c:tx>
                <c:rich>
                  <a:bodyPr/>
                  <a:lstStyle/>
                  <a:p>
                    <a:fld id="{89FC6A2B-FA89-42B7-8D65-3BE227297F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FE79-43B7-8A1A-3B973BF29255}"/>
                </c:ext>
              </c:extLst>
            </c:dLbl>
            <c:dLbl>
              <c:idx val="30"/>
              <c:tx>
                <c:rich>
                  <a:bodyPr/>
                  <a:lstStyle/>
                  <a:p>
                    <a:fld id="{633C6D29-510E-42DC-8AA6-0F18CCA5A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FE79-43B7-8A1A-3B973BF29255}"/>
                </c:ext>
              </c:extLst>
            </c:dLbl>
            <c:dLbl>
              <c:idx val="31"/>
              <c:tx>
                <c:rich>
                  <a:bodyPr/>
                  <a:lstStyle/>
                  <a:p>
                    <a:fld id="{DD4FAED0-5373-4BE3-BDCA-5AF09710F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E79-43B7-8A1A-3B973BF29255}"/>
                </c:ext>
              </c:extLst>
            </c:dLbl>
            <c:dLbl>
              <c:idx val="32"/>
              <c:tx>
                <c:rich>
                  <a:bodyPr/>
                  <a:lstStyle/>
                  <a:p>
                    <a:fld id="{08EFC321-BB23-4E98-B367-4067BD1C3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4</c:f>
              <c:numCache>
                <c:formatCode>General</c:formatCode>
                <c:ptCount val="13"/>
                <c:pt idx="0">
                  <c:v>-1.310563369850581E-3</c:v>
                </c:pt>
                <c:pt idx="1">
                  <c:v>-4.6373348051696739E-2</c:v>
                </c:pt>
                <c:pt idx="2">
                  <c:v>3.908767655661477E-3</c:v>
                </c:pt>
                <c:pt idx="3">
                  <c:v>-5.4613073922547828E-4</c:v>
                </c:pt>
                <c:pt idx="4">
                  <c:v>-8.0322378899773533E-3</c:v>
                </c:pt>
                <c:pt idx="5">
                  <c:v>-8.2813089149894742E-4</c:v>
                </c:pt>
                <c:pt idx="6">
                  <c:v>9.3719908542259228E-4</c:v>
                </c:pt>
                <c:pt idx="7">
                  <c:v>5.3883087378690728E-3</c:v>
                </c:pt>
                <c:pt idx="8">
                  <c:v>5.3571050888204987E-3</c:v>
                </c:pt>
                <c:pt idx="9">
                  <c:v>1.278001834973057E-3</c:v>
                </c:pt>
                <c:pt idx="10">
                  <c:v>-4.5596714607815808E-5</c:v>
                </c:pt>
                <c:pt idx="11">
                  <c:v>4.8239089287016312E-3</c:v>
                </c:pt>
                <c:pt idx="12">
                  <c:v>7.1352677594212557E-4</c:v>
                </c:pt>
              </c:numCache>
            </c:numRef>
          </c:xVal>
          <c:yVal>
            <c:numRef>
              <c:f>Sheet1!$B$2:$B$14</c:f>
              <c:numCache>
                <c:formatCode>General</c:formatCode>
                <c:ptCount val="13"/>
                <c:pt idx="0">
                  <c:v>-1.2652429585081389E-2</c:v>
                </c:pt>
                <c:pt idx="1">
                  <c:v>-0.10854095629702511</c:v>
                </c:pt>
                <c:pt idx="2">
                  <c:v>1.4423952809440071E-2</c:v>
                </c:pt>
                <c:pt idx="3">
                  <c:v>-4.1352556913929186E-3</c:v>
                </c:pt>
                <c:pt idx="4">
                  <c:v>-1.909947059800941E-2</c:v>
                </c:pt>
                <c:pt idx="5">
                  <c:v>-3.087084440936839E-3</c:v>
                </c:pt>
                <c:pt idx="6">
                  <c:v>1.5336048568122471E-3</c:v>
                </c:pt>
                <c:pt idx="7">
                  <c:v>9.1277736258934539E-3</c:v>
                </c:pt>
                <c:pt idx="8">
                  <c:v>1.1907480453437451E-2</c:v>
                </c:pt>
                <c:pt idx="9">
                  <c:v>1.1740186065133181E-3</c:v>
                </c:pt>
                <c:pt idx="10">
                  <c:v>-1.3808176332980419E-3</c:v>
                </c:pt>
                <c:pt idx="11">
                  <c:v>1.0920881964568519E-2</c:v>
                </c:pt>
                <c:pt idx="12">
                  <c:v>3.232679862077547E-4</c:v>
                </c:pt>
              </c:numCache>
            </c:numRef>
          </c:yVal>
          <c:bubbleSize>
            <c:numRef>
              <c:f>Sheet1!$C$2:$C$14</c:f>
              <c:numCache>
                <c:formatCode>General</c:formatCode>
                <c:ptCount val="13"/>
                <c:pt idx="0">
                  <c:v>635650528</c:v>
                </c:pt>
                <c:pt idx="1">
                  <c:v>498218809</c:v>
                </c:pt>
                <c:pt idx="2">
                  <c:v>124637236</c:v>
                </c:pt>
                <c:pt idx="3">
                  <c:v>107531355</c:v>
                </c:pt>
                <c:pt idx="4">
                  <c:v>67782408</c:v>
                </c:pt>
                <c:pt idx="5">
                  <c:v>66381257</c:v>
                </c:pt>
                <c:pt idx="6">
                  <c:v>54885035</c:v>
                </c:pt>
                <c:pt idx="7">
                  <c:v>32133765</c:v>
                </c:pt>
                <c:pt idx="8">
                  <c:v>22816387</c:v>
                </c:pt>
                <c:pt idx="9">
                  <c:v>22558077</c:v>
                </c:pt>
                <c:pt idx="10">
                  <c:v>20786606</c:v>
                </c:pt>
                <c:pt idx="11">
                  <c:v>19581030</c:v>
                </c:pt>
                <c:pt idx="12">
                  <c:v>17199711</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7.6526949186823765E-3"/>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2.6714761191897283E-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C97003ED-ECAF-48DE-AB31-1D088E51B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8622280C-5C0F-42CB-A097-5A6BF901E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4B3410FA-B002-4921-BA73-E3EFB1D842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F8E0D627-801F-4CAE-8C3B-EB28522D6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7FA796BF-AA4C-4984-B653-A0C277AA6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7DE46F49-80D8-4873-BAC2-86A3945D3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D3A0833E-CF8C-47AF-BF2A-3B6BAFD81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085D5801-787B-4A04-9F98-78E5FCA5B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F25A24D1-616F-4413-BD36-400B81ABA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C176E727-EB07-42E6-8AEA-2E693445D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EBDF4E8E-2A35-48BD-85D9-E8026E0CB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5A63D778-1FED-4F18-9B52-BB198D570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125CFD95-B6EB-44B9-BDFE-5C7CD5BBCB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2B3-43D4-BD21-895ACA67225E}"/>
                </c:ext>
              </c:extLst>
            </c:dLbl>
            <c:dLbl>
              <c:idx val="14"/>
              <c:tx>
                <c:rich>
                  <a:bodyPr/>
                  <a:lstStyle/>
                  <a:p>
                    <a:fld id="{0C951864-1561-4C89-BD8F-F52B9E3F2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2B3-43D4-BD21-895ACA67225E}"/>
                </c:ext>
              </c:extLst>
            </c:dLbl>
            <c:dLbl>
              <c:idx val="15"/>
              <c:tx>
                <c:rich>
                  <a:bodyPr/>
                  <a:lstStyle/>
                  <a:p>
                    <a:fld id="{21492A15-D734-4731-8D2C-226F204AB3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2B3-43D4-BD21-895ACA67225E}"/>
                </c:ext>
              </c:extLst>
            </c:dLbl>
            <c:dLbl>
              <c:idx val="16"/>
              <c:tx>
                <c:rich>
                  <a:bodyPr/>
                  <a:lstStyle/>
                  <a:p>
                    <a:fld id="{CEF6A841-CAFD-4503-9D10-BA7078D72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2B3-43D4-BD21-895ACA67225E}"/>
                </c:ext>
              </c:extLst>
            </c:dLbl>
            <c:dLbl>
              <c:idx val="17"/>
              <c:tx>
                <c:rich>
                  <a:bodyPr/>
                  <a:lstStyle/>
                  <a:p>
                    <a:fld id="{8BAC07AC-FE4B-402D-AF6C-2A7CB7D0B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2B3-43D4-BD21-895ACA67225E}"/>
                </c:ext>
              </c:extLst>
            </c:dLbl>
            <c:dLbl>
              <c:idx val="18"/>
              <c:tx>
                <c:rich>
                  <a:bodyPr/>
                  <a:lstStyle/>
                  <a:p>
                    <a:fld id="{FEB00D3D-02E9-4AE9-8915-400EE8ACB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2B3-43D4-BD21-895ACA67225E}"/>
                </c:ext>
              </c:extLst>
            </c:dLbl>
            <c:dLbl>
              <c:idx val="19"/>
              <c:tx>
                <c:rich>
                  <a:bodyPr/>
                  <a:lstStyle/>
                  <a:p>
                    <a:fld id="{9319FA1D-15D8-40EB-882C-73751350E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2B3-43D4-BD21-895ACA67225E}"/>
                </c:ext>
              </c:extLst>
            </c:dLbl>
            <c:dLbl>
              <c:idx val="20"/>
              <c:tx>
                <c:rich>
                  <a:bodyPr/>
                  <a:lstStyle/>
                  <a:p>
                    <a:fld id="{EE575223-A341-4904-A28E-CEA549A3A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2B3-43D4-BD21-895ACA67225E}"/>
                </c:ext>
              </c:extLst>
            </c:dLbl>
            <c:dLbl>
              <c:idx val="21"/>
              <c:tx>
                <c:rich>
                  <a:bodyPr/>
                  <a:lstStyle/>
                  <a:p>
                    <a:fld id="{ADD2761D-DE33-4B19-B332-D175067FE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6A5-42F8-9CB2-D500C2C49522}"/>
                </c:ext>
              </c:extLst>
            </c:dLbl>
            <c:dLbl>
              <c:idx val="22"/>
              <c:tx>
                <c:rich>
                  <a:bodyPr/>
                  <a:lstStyle/>
                  <a:p>
                    <a:fld id="{10CFE2AC-D247-4655-BB5F-B155A986A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6A5-42F8-9CB2-D500C2C49522}"/>
                </c:ext>
              </c:extLst>
            </c:dLbl>
            <c:dLbl>
              <c:idx val="23"/>
              <c:tx>
                <c:rich>
                  <a:bodyPr/>
                  <a:lstStyle/>
                  <a:p>
                    <a:fld id="{0416FCFF-D6F3-408A-B36A-64E0AC396E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79-43B7-8A1A-3B973BF29255}"/>
                </c:ext>
              </c:extLst>
            </c:dLbl>
            <c:dLbl>
              <c:idx val="24"/>
              <c:tx>
                <c:rich>
                  <a:bodyPr/>
                  <a:lstStyle/>
                  <a:p>
                    <a:fld id="{123DBDE8-3CEE-462E-AF8C-2C586B8C5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79-43B7-8A1A-3B973BF29255}"/>
                </c:ext>
              </c:extLst>
            </c:dLbl>
            <c:dLbl>
              <c:idx val="25"/>
              <c:tx>
                <c:rich>
                  <a:bodyPr/>
                  <a:lstStyle/>
                  <a:p>
                    <a:fld id="{CC1C6B2B-817D-4E3D-80C8-B23455FB9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79-43B7-8A1A-3B973BF29255}"/>
                </c:ext>
              </c:extLst>
            </c:dLbl>
            <c:dLbl>
              <c:idx val="26"/>
              <c:tx>
                <c:rich>
                  <a:bodyPr/>
                  <a:lstStyle/>
                  <a:p>
                    <a:fld id="{C9F724F5-DBD1-4FB4-805D-B50CF1E03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79-43B7-8A1A-3B973BF29255}"/>
                </c:ext>
              </c:extLst>
            </c:dLbl>
            <c:dLbl>
              <c:idx val="27"/>
              <c:tx>
                <c:rich>
                  <a:bodyPr/>
                  <a:lstStyle/>
                  <a:p>
                    <a:fld id="{3B947FF8-563F-4047-ABE0-8327E84AAA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79-43B7-8A1A-3B973BF29255}"/>
                </c:ext>
              </c:extLst>
            </c:dLbl>
            <c:dLbl>
              <c:idx val="28"/>
              <c:tx>
                <c:rich>
                  <a:bodyPr/>
                  <a:lstStyle/>
                  <a:p>
                    <a:fld id="{D94BECC9-C183-42AB-AB5C-B54E4582FD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FE79-43B7-8A1A-3B973BF29255}"/>
                </c:ext>
              </c:extLst>
            </c:dLbl>
            <c:dLbl>
              <c:idx val="29"/>
              <c:tx>
                <c:rich>
                  <a:bodyPr/>
                  <a:lstStyle/>
                  <a:p>
                    <a:fld id="{A35D754B-46B1-4720-82A9-DB487AD4E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FE79-43B7-8A1A-3B973BF29255}"/>
                </c:ext>
              </c:extLst>
            </c:dLbl>
            <c:dLbl>
              <c:idx val="30"/>
              <c:tx>
                <c:rich>
                  <a:bodyPr/>
                  <a:lstStyle/>
                  <a:p>
                    <a:fld id="{DA3A56A0-C781-48B6-AE63-3D7D132B5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FE79-43B7-8A1A-3B973BF29255}"/>
                </c:ext>
              </c:extLst>
            </c:dLbl>
            <c:dLbl>
              <c:idx val="31"/>
              <c:tx>
                <c:rich>
                  <a:bodyPr/>
                  <a:lstStyle/>
                  <a:p>
                    <a:fld id="{99706251-988D-4678-B16B-90778B521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E79-43B7-8A1A-3B973BF29255}"/>
                </c:ext>
              </c:extLst>
            </c:dLbl>
            <c:dLbl>
              <c:idx val="32"/>
              <c:tx>
                <c:rich>
                  <a:bodyPr/>
                  <a:lstStyle/>
                  <a:p>
                    <a:fld id="{06A1650E-FD9B-4706-9269-BE53F2FCF7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5</c:f>
              <c:numCache>
                <c:formatCode>General</c:formatCode>
                <c:ptCount val="14"/>
                <c:pt idx="0">
                  <c:v>1.072207341711595E-2</c:v>
                </c:pt>
                <c:pt idx="1">
                  <c:v>-1.6785382869416441E-3</c:v>
                </c:pt>
                <c:pt idx="2">
                  <c:v>2.0435966292503271E-3</c:v>
                </c:pt>
                <c:pt idx="3">
                  <c:v>-3.744807415736857E-3</c:v>
                </c:pt>
                <c:pt idx="4">
                  <c:v>-1.3759644598472791E-3</c:v>
                </c:pt>
                <c:pt idx="5">
                  <c:v>-3.1072595905735148E-3</c:v>
                </c:pt>
                <c:pt idx="6">
                  <c:v>-6.6920972648247534E-3</c:v>
                </c:pt>
                <c:pt idx="7">
                  <c:v>2.378100347070027E-3</c:v>
                </c:pt>
                <c:pt idx="8">
                  <c:v>-2.3588192099298221E-3</c:v>
                </c:pt>
                <c:pt idx="9">
                  <c:v>-1.053090117100051E-3</c:v>
                </c:pt>
                <c:pt idx="10">
                  <c:v>2.784828497550199E-3</c:v>
                </c:pt>
                <c:pt idx="11">
                  <c:v>1.380474421948139E-3</c:v>
                </c:pt>
                <c:pt idx="12">
                  <c:v>4.516357092695239E-4</c:v>
                </c:pt>
                <c:pt idx="13">
                  <c:v>-2.7753440037185662E-5</c:v>
                </c:pt>
              </c:numCache>
            </c:numRef>
          </c:xVal>
          <c:yVal>
            <c:numRef>
              <c:f>Sheet1!$B$2:$B$15</c:f>
              <c:numCache>
                <c:formatCode>General</c:formatCode>
                <c:ptCount val="14"/>
                <c:pt idx="0">
                  <c:v>4.660339983711681E-3</c:v>
                </c:pt>
                <c:pt idx="1">
                  <c:v>-9.2456224966205314E-3</c:v>
                </c:pt>
                <c:pt idx="2">
                  <c:v>7.0558232434921597E-3</c:v>
                </c:pt>
                <c:pt idx="3">
                  <c:v>-5.5637674500422507E-3</c:v>
                </c:pt>
                <c:pt idx="4">
                  <c:v>-1.1339471987399709E-2</c:v>
                </c:pt>
                <c:pt idx="5">
                  <c:v>-4.1926379592190782E-3</c:v>
                </c:pt>
                <c:pt idx="6">
                  <c:v>-8.0001311416343437E-3</c:v>
                </c:pt>
                <c:pt idx="7">
                  <c:v>3.3640537539607121E-3</c:v>
                </c:pt>
                <c:pt idx="8">
                  <c:v>-5.0675442620831332E-3</c:v>
                </c:pt>
                <c:pt idx="9">
                  <c:v>-5.4470616281414308E-4</c:v>
                </c:pt>
                <c:pt idx="10">
                  <c:v>9.9653007833398061E-4</c:v>
                </c:pt>
                <c:pt idx="11">
                  <c:v>-6.2275259774458372E-4</c:v>
                </c:pt>
                <c:pt idx="12">
                  <c:v>-4.2078172746329344E-3</c:v>
                </c:pt>
                <c:pt idx="13">
                  <c:v>-7.073215940060773E-5</c:v>
                </c:pt>
              </c:numCache>
            </c:numRef>
          </c:yVal>
          <c:bubbleSize>
            <c:numRef>
              <c:f>Sheet1!$C$2:$C$15</c:f>
              <c:numCache>
                <c:formatCode>General</c:formatCode>
                <c:ptCount val="14"/>
                <c:pt idx="0">
                  <c:v>263392264</c:v>
                </c:pt>
                <c:pt idx="1">
                  <c:v>189926117</c:v>
                </c:pt>
                <c:pt idx="2">
                  <c:v>77691485</c:v>
                </c:pt>
                <c:pt idx="3">
                  <c:v>39509333</c:v>
                </c:pt>
                <c:pt idx="4">
                  <c:v>39277810</c:v>
                </c:pt>
                <c:pt idx="5">
                  <c:v>34407631</c:v>
                </c:pt>
                <c:pt idx="6">
                  <c:v>33117229</c:v>
                </c:pt>
                <c:pt idx="7">
                  <c:v>30611364</c:v>
                </c:pt>
                <c:pt idx="8">
                  <c:v>30468388</c:v>
                </c:pt>
                <c:pt idx="9">
                  <c:v>22816387</c:v>
                </c:pt>
                <c:pt idx="10">
                  <c:v>22557022</c:v>
                </c:pt>
                <c:pt idx="11">
                  <c:v>17199711</c:v>
                </c:pt>
                <c:pt idx="12">
                  <c:v>15801842</c:v>
                </c:pt>
                <c:pt idx="13">
                  <c:v>15405497</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2.3413168880066274E-3"/>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1.9830054484781465E-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9A6115EC-2929-443E-99DE-FC7643A50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11DD5EA9-A480-430C-8BE0-4EF7EA323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1BEAE0FF-5709-4C65-B408-99EC63C58D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B1B77E9E-6A54-4C00-B7A7-78E805BE3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4C5F3150-3D9B-4114-AD92-89A69BE58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00CF64DB-A083-469F-9C87-FE17A8CD9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7348337D-420E-4E3F-AB14-14C453ABE9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2C16D589-44E8-45E5-A6B0-9457D001BA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3328297B-D327-4660-A273-8FC040E35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r>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2B3-43D4-BD21-895ACA67225E}"/>
                </c:ext>
              </c:extLst>
            </c:dLbl>
            <c:dLbl>
              <c:idx val="10"/>
              <c:tx>
                <c:rich>
                  <a:bodyPr/>
                  <a:lstStyle/>
                  <a:p>
                    <a:fld id="{E974E3FF-405C-47AB-B4FA-247FF0CD7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2B3-43D4-BD21-895ACA67225E}"/>
                </c:ext>
              </c:extLst>
            </c:dLbl>
            <c:dLbl>
              <c:idx val="11"/>
              <c:tx>
                <c:rich>
                  <a:bodyPr/>
                  <a:lstStyle/>
                  <a:p>
                    <a:fld id="{823B8FA0-C6BA-41D3-9F55-3D5405965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2B3-43D4-BD21-895ACA67225E}"/>
                </c:ext>
              </c:extLst>
            </c:dLbl>
            <c:dLbl>
              <c:idx val="12"/>
              <c:tx>
                <c:rich>
                  <a:bodyPr/>
                  <a:lstStyle/>
                  <a:p>
                    <a:fld id="{32CA6D6F-A0D5-472D-9D42-BA1A86BB5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2B3-43D4-BD21-895ACA67225E}"/>
                </c:ext>
              </c:extLst>
            </c:dLbl>
            <c:dLbl>
              <c:idx val="13"/>
              <c:tx>
                <c:rich>
                  <a:bodyPr/>
                  <a:lstStyle/>
                  <a:p>
                    <a:fld id="{3F26A27F-33B6-4F22-A1E1-1F9027BE6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2B3-43D4-BD21-895ACA67225E}"/>
                </c:ext>
              </c:extLst>
            </c:dLbl>
            <c:dLbl>
              <c:idx val="14"/>
              <c:tx>
                <c:rich>
                  <a:bodyPr/>
                  <a:lstStyle/>
                  <a:p>
                    <a:fld id="{6250F8BC-C0F3-4A8D-8EBD-045804704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2B3-43D4-BD21-895ACA67225E}"/>
                </c:ext>
              </c:extLst>
            </c:dLbl>
            <c:dLbl>
              <c:idx val="15"/>
              <c:tx>
                <c:rich>
                  <a:bodyPr/>
                  <a:lstStyle/>
                  <a:p>
                    <a:fld id="{91CC761B-2140-4DC6-A6F3-7CBF6625D5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2B3-43D4-BD21-895ACA67225E}"/>
                </c:ext>
              </c:extLst>
            </c:dLbl>
            <c:dLbl>
              <c:idx val="16"/>
              <c:tx>
                <c:rich>
                  <a:bodyPr/>
                  <a:lstStyle/>
                  <a:p>
                    <a:fld id="{11331D64-CAF0-4B0C-995C-39BEC91D5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2B3-43D4-BD21-895ACA67225E}"/>
                </c:ext>
              </c:extLst>
            </c:dLbl>
            <c:dLbl>
              <c:idx val="17"/>
              <c:tx>
                <c:rich>
                  <a:bodyPr/>
                  <a:lstStyle/>
                  <a:p>
                    <a:fld id="{D46BD1FB-757B-443F-8D3C-8367EFDAC6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2B3-43D4-BD21-895ACA67225E}"/>
                </c:ext>
              </c:extLst>
            </c:dLbl>
            <c:dLbl>
              <c:idx val="18"/>
              <c:tx>
                <c:rich>
                  <a:bodyPr/>
                  <a:lstStyle/>
                  <a:p>
                    <a:fld id="{9A438D6E-0505-4E42-B235-349741C98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2B3-43D4-BD21-895ACA67225E}"/>
                </c:ext>
              </c:extLst>
            </c:dLbl>
            <c:dLbl>
              <c:idx val="19"/>
              <c:tx>
                <c:rich>
                  <a:bodyPr/>
                  <a:lstStyle/>
                  <a:p>
                    <a:fld id="{57F361D1-85D6-46C3-8C0B-B826C134E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2B3-43D4-BD21-895ACA67225E}"/>
                </c:ext>
              </c:extLst>
            </c:dLbl>
            <c:dLbl>
              <c:idx val="20"/>
              <c:tx>
                <c:rich>
                  <a:bodyPr/>
                  <a:lstStyle/>
                  <a:p>
                    <a:fld id="{82C206D9-658B-4B30-8287-EBA46CF61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2B3-43D4-BD21-895ACA67225E}"/>
                </c:ext>
              </c:extLst>
            </c:dLbl>
            <c:dLbl>
              <c:idx val="21"/>
              <c:tx>
                <c:rich>
                  <a:bodyPr/>
                  <a:lstStyle/>
                  <a:p>
                    <a:fld id="{721A62D1-5873-479B-A330-3D9673541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6A5-42F8-9CB2-D500C2C49522}"/>
                </c:ext>
              </c:extLst>
            </c:dLbl>
            <c:dLbl>
              <c:idx val="22"/>
              <c:tx>
                <c:rich>
                  <a:bodyPr/>
                  <a:lstStyle/>
                  <a:p>
                    <a:fld id="{17B873AB-A188-434F-9F23-CE0B6E907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6A5-42F8-9CB2-D500C2C49522}"/>
                </c:ext>
              </c:extLst>
            </c:dLbl>
            <c:dLbl>
              <c:idx val="23"/>
              <c:tx>
                <c:rich>
                  <a:bodyPr/>
                  <a:lstStyle/>
                  <a:p>
                    <a:fld id="{D502D4A7-BD48-449B-876C-5875AAFE3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79-43B7-8A1A-3B973BF29255}"/>
                </c:ext>
              </c:extLst>
            </c:dLbl>
            <c:dLbl>
              <c:idx val="24"/>
              <c:tx>
                <c:rich>
                  <a:bodyPr/>
                  <a:lstStyle/>
                  <a:p>
                    <a:fld id="{5B9058CC-363C-4BB5-84F3-4D5EFB98E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79-43B7-8A1A-3B973BF29255}"/>
                </c:ext>
              </c:extLst>
            </c:dLbl>
            <c:dLbl>
              <c:idx val="25"/>
              <c:tx>
                <c:rich>
                  <a:bodyPr/>
                  <a:lstStyle/>
                  <a:p>
                    <a:fld id="{04B21115-72AE-4EE3-8F80-208550E846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79-43B7-8A1A-3B973BF29255}"/>
                </c:ext>
              </c:extLst>
            </c:dLbl>
            <c:dLbl>
              <c:idx val="26"/>
              <c:tx>
                <c:rich>
                  <a:bodyPr/>
                  <a:lstStyle/>
                  <a:p>
                    <a:fld id="{3D2FCB98-3E69-4459-9020-EC4D247E0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79-43B7-8A1A-3B973BF29255}"/>
                </c:ext>
              </c:extLst>
            </c:dLbl>
            <c:dLbl>
              <c:idx val="27"/>
              <c:tx>
                <c:rich>
                  <a:bodyPr/>
                  <a:lstStyle/>
                  <a:p>
                    <a:fld id="{0F027B9A-2B26-40EC-8997-22FF5995A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79-43B7-8A1A-3B973BF29255}"/>
                </c:ext>
              </c:extLst>
            </c:dLbl>
            <c:dLbl>
              <c:idx val="28"/>
              <c:tx>
                <c:rich>
                  <a:bodyPr/>
                  <a:lstStyle/>
                  <a:p>
                    <a:fld id="{94EA9251-1E22-4E8D-9E58-C5AEE593A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FE79-43B7-8A1A-3B973BF29255}"/>
                </c:ext>
              </c:extLst>
            </c:dLbl>
            <c:dLbl>
              <c:idx val="29"/>
              <c:tx>
                <c:rich>
                  <a:bodyPr/>
                  <a:lstStyle/>
                  <a:p>
                    <a:fld id="{681AE725-4487-443C-91AE-223701856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FE79-43B7-8A1A-3B973BF29255}"/>
                </c:ext>
              </c:extLst>
            </c:dLbl>
            <c:dLbl>
              <c:idx val="30"/>
              <c:tx>
                <c:rich>
                  <a:bodyPr/>
                  <a:lstStyle/>
                  <a:p>
                    <a:fld id="{CC009868-CAC6-4611-9403-C04FB3F7F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FE79-43B7-8A1A-3B973BF29255}"/>
                </c:ext>
              </c:extLst>
            </c:dLbl>
            <c:dLbl>
              <c:idx val="31"/>
              <c:tx>
                <c:rich>
                  <a:bodyPr/>
                  <a:lstStyle/>
                  <a:p>
                    <a:fld id="{89B00916-55D7-40E4-8AFD-B7D48D8D1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E79-43B7-8A1A-3B973BF29255}"/>
                </c:ext>
              </c:extLst>
            </c:dLbl>
            <c:dLbl>
              <c:idx val="32"/>
              <c:tx>
                <c:rich>
                  <a:bodyPr/>
                  <a:lstStyle/>
                  <a:p>
                    <a:fld id="{8E07B83B-86B0-43B9-A0B2-FEDB60B86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7.177047080056953E-4</c:v>
                </c:pt>
                <c:pt idx="1">
                  <c:v>-6.279312413204341E-5</c:v>
                </c:pt>
                <c:pt idx="2">
                  <c:v>-1.4229720719683561E-2</c:v>
                </c:pt>
                <c:pt idx="3">
                  <c:v>-6.5173388965960996E-3</c:v>
                </c:pt>
                <c:pt idx="4">
                  <c:v>-1.502076560418064E-2</c:v>
                </c:pt>
                <c:pt idx="5">
                  <c:v>1.9713551485693042E-3</c:v>
                </c:pt>
                <c:pt idx="6">
                  <c:v>5.6249266655989533E-3</c:v>
                </c:pt>
                <c:pt idx="7">
                  <c:v>4.1031246111777886E-3</c:v>
                </c:pt>
                <c:pt idx="8">
                  <c:v>-2.1277522639178559E-4</c:v>
                </c:pt>
                <c:pt idx="9">
                  <c:v>-1.4907977074703829E-3</c:v>
                </c:pt>
              </c:numCache>
            </c:numRef>
          </c:xVal>
          <c:yVal>
            <c:numRef>
              <c:f>Sheet1!$B$2:$B$11</c:f>
              <c:numCache>
                <c:formatCode>General</c:formatCode>
                <c:ptCount val="10"/>
                <c:pt idx="0">
                  <c:v>1.253407984682298E-2</c:v>
                </c:pt>
                <c:pt idx="1">
                  <c:v>-6.2578737806382012E-2</c:v>
                </c:pt>
                <c:pt idx="2">
                  <c:v>-1.580929628554659E-2</c:v>
                </c:pt>
                <c:pt idx="3">
                  <c:v>5.1657270995826447E-2</c:v>
                </c:pt>
                <c:pt idx="4">
                  <c:v>-3.255670933778793E-3</c:v>
                </c:pt>
                <c:pt idx="5">
                  <c:v>9.4492331504326954E-4</c:v>
                </c:pt>
                <c:pt idx="6">
                  <c:v>6.9041661551641209E-3</c:v>
                </c:pt>
                <c:pt idx="7">
                  <c:v>1.713636269581376E-3</c:v>
                </c:pt>
                <c:pt idx="8">
                  <c:v>-1.3642223136867511E-2</c:v>
                </c:pt>
                <c:pt idx="9">
                  <c:v>7.9522158171812379E-4</c:v>
                </c:pt>
              </c:numCache>
            </c:numRef>
          </c:yVal>
          <c:bubbleSize>
            <c:numRef>
              <c:f>Sheet1!$C$2:$C$11</c:f>
              <c:numCache>
                <c:formatCode>General</c:formatCode>
                <c:ptCount val="10"/>
                <c:pt idx="0">
                  <c:v>23637907</c:v>
                </c:pt>
                <c:pt idx="1">
                  <c:v>23271110</c:v>
                </c:pt>
                <c:pt idx="2">
                  <c:v>5715349</c:v>
                </c:pt>
                <c:pt idx="3">
                  <c:v>4730575</c:v>
                </c:pt>
                <c:pt idx="4">
                  <c:v>4275865</c:v>
                </c:pt>
                <c:pt idx="5">
                  <c:v>3679581</c:v>
                </c:pt>
                <c:pt idx="6">
                  <c:v>2668533</c:v>
                </c:pt>
                <c:pt idx="7">
                  <c:v>2642649</c:v>
                </c:pt>
                <c:pt idx="8">
                  <c:v>2136150</c:v>
                </c:pt>
                <c:pt idx="9">
                  <c:v>1221414</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2.0736629998418582E-3"/>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2.5117080145102776E-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029A035E-C69B-462B-9F80-339C3453C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B3C6E199-EB06-4E95-9384-BB3643BEB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8AD7254B-0F44-47CF-B00C-E6DFC572E7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655C5CBF-94D2-4485-91A3-78A49AF83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82230709-5805-4413-AE21-28A2C084B0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A4FA947F-8BFD-4017-ADE8-E8325EC369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8AA60B0D-40A1-40A7-A43C-6EC80222B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570E3A93-0C15-40D7-8676-9DC31AA3C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E91FE2E1-29D2-42BE-8ACC-C59322E2F7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6E612A6D-1DF3-4E35-938A-B4B90AE469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r>
                      <a:t>1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2B3-43D4-BD21-895ACA67225E}"/>
                </c:ext>
              </c:extLst>
            </c:dLbl>
            <c:dLbl>
              <c:idx val="11"/>
              <c:tx>
                <c:rich>
                  <a:bodyPr/>
                  <a:lstStyle/>
                  <a:p>
                    <a:fld id="{CBA0C899-C2AF-493A-B15B-3ED885963C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2B3-43D4-BD21-895ACA67225E}"/>
                </c:ext>
              </c:extLst>
            </c:dLbl>
            <c:dLbl>
              <c:idx val="12"/>
              <c:tx>
                <c:rich>
                  <a:bodyPr/>
                  <a:lstStyle/>
                  <a:p>
                    <a:fld id="{42B71832-DE49-4E61-80BA-C75A9DBD3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2B3-43D4-BD21-895ACA67225E}"/>
                </c:ext>
              </c:extLst>
            </c:dLbl>
            <c:dLbl>
              <c:idx val="13"/>
              <c:tx>
                <c:rich>
                  <a:bodyPr/>
                  <a:lstStyle/>
                  <a:p>
                    <a:fld id="{D3E18B2F-64C8-48C0-B42A-80F2C33B4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2B3-43D4-BD21-895ACA67225E}"/>
                </c:ext>
              </c:extLst>
            </c:dLbl>
            <c:dLbl>
              <c:idx val="14"/>
              <c:tx>
                <c:rich>
                  <a:bodyPr/>
                  <a:lstStyle/>
                  <a:p>
                    <a:fld id="{651D1C89-D810-42C7-9C81-65FCAC39D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2B3-43D4-BD21-895ACA67225E}"/>
                </c:ext>
              </c:extLst>
            </c:dLbl>
            <c:dLbl>
              <c:idx val="15"/>
              <c:tx>
                <c:rich>
                  <a:bodyPr/>
                  <a:lstStyle/>
                  <a:p>
                    <a:fld id="{8F83E1F8-46EC-4B32-ABA2-8A3C55B96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2B3-43D4-BD21-895ACA67225E}"/>
                </c:ext>
              </c:extLst>
            </c:dLbl>
            <c:dLbl>
              <c:idx val="16"/>
              <c:tx>
                <c:rich>
                  <a:bodyPr/>
                  <a:lstStyle/>
                  <a:p>
                    <a:fld id="{6C59846A-D9B4-417E-A6C8-12F54E7B32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2B3-43D4-BD21-895ACA67225E}"/>
                </c:ext>
              </c:extLst>
            </c:dLbl>
            <c:dLbl>
              <c:idx val="17"/>
              <c:tx>
                <c:rich>
                  <a:bodyPr/>
                  <a:lstStyle/>
                  <a:p>
                    <a:fld id="{86AF1ADA-85F6-460A-8BE0-225A8E169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2B3-43D4-BD21-895ACA67225E}"/>
                </c:ext>
              </c:extLst>
            </c:dLbl>
            <c:dLbl>
              <c:idx val="18"/>
              <c:tx>
                <c:rich>
                  <a:bodyPr/>
                  <a:lstStyle/>
                  <a:p>
                    <a:fld id="{9DC501A6-8CC3-4A7B-8439-AC3728006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2B3-43D4-BD21-895ACA67225E}"/>
                </c:ext>
              </c:extLst>
            </c:dLbl>
            <c:dLbl>
              <c:idx val="19"/>
              <c:tx>
                <c:rich>
                  <a:bodyPr/>
                  <a:lstStyle/>
                  <a:p>
                    <a:fld id="{AA26A01A-2571-49D7-A70F-3FD03857B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2B3-43D4-BD21-895ACA67225E}"/>
                </c:ext>
              </c:extLst>
            </c:dLbl>
            <c:dLbl>
              <c:idx val="20"/>
              <c:tx>
                <c:rich>
                  <a:bodyPr/>
                  <a:lstStyle/>
                  <a:p>
                    <a:fld id="{D1DC0FBB-35E1-4AAA-A123-1F2CF98D91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2B3-43D4-BD21-895ACA67225E}"/>
                </c:ext>
              </c:extLst>
            </c:dLbl>
            <c:dLbl>
              <c:idx val="21"/>
              <c:tx>
                <c:rich>
                  <a:bodyPr/>
                  <a:lstStyle/>
                  <a:p>
                    <a:fld id="{3E3CFA99-4B01-4B3D-B8B4-14E4A0E9B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6A5-42F8-9CB2-D500C2C49522}"/>
                </c:ext>
              </c:extLst>
            </c:dLbl>
            <c:dLbl>
              <c:idx val="22"/>
              <c:tx>
                <c:rich>
                  <a:bodyPr/>
                  <a:lstStyle/>
                  <a:p>
                    <a:fld id="{2B274FFE-939B-4FA5-8293-EC3AECFBF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6A5-42F8-9CB2-D500C2C49522}"/>
                </c:ext>
              </c:extLst>
            </c:dLbl>
            <c:dLbl>
              <c:idx val="23"/>
              <c:tx>
                <c:rich>
                  <a:bodyPr/>
                  <a:lstStyle/>
                  <a:p>
                    <a:fld id="{06C686D7-C8B4-4670-86B8-F3163C76E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79-43B7-8A1A-3B973BF29255}"/>
                </c:ext>
              </c:extLst>
            </c:dLbl>
            <c:dLbl>
              <c:idx val="24"/>
              <c:tx>
                <c:rich>
                  <a:bodyPr/>
                  <a:lstStyle/>
                  <a:p>
                    <a:fld id="{8F231397-E603-4351-8DD1-DAAD5BD3EC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79-43B7-8A1A-3B973BF29255}"/>
                </c:ext>
              </c:extLst>
            </c:dLbl>
            <c:dLbl>
              <c:idx val="25"/>
              <c:tx>
                <c:rich>
                  <a:bodyPr/>
                  <a:lstStyle/>
                  <a:p>
                    <a:fld id="{D382324E-70A5-46B9-B6BA-B8C6517AFE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79-43B7-8A1A-3B973BF29255}"/>
                </c:ext>
              </c:extLst>
            </c:dLbl>
            <c:dLbl>
              <c:idx val="26"/>
              <c:tx>
                <c:rich>
                  <a:bodyPr/>
                  <a:lstStyle/>
                  <a:p>
                    <a:fld id="{9822396F-A9AA-435E-9CAF-94F333E19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79-43B7-8A1A-3B973BF29255}"/>
                </c:ext>
              </c:extLst>
            </c:dLbl>
            <c:dLbl>
              <c:idx val="27"/>
              <c:tx>
                <c:rich>
                  <a:bodyPr/>
                  <a:lstStyle/>
                  <a:p>
                    <a:fld id="{3EF4B400-3BE0-414B-A5A6-D6E712DE3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79-43B7-8A1A-3B973BF29255}"/>
                </c:ext>
              </c:extLst>
            </c:dLbl>
            <c:dLbl>
              <c:idx val="28"/>
              <c:tx>
                <c:rich>
                  <a:bodyPr/>
                  <a:lstStyle/>
                  <a:p>
                    <a:fld id="{11A1C680-DDB3-492B-9ECA-A876C7B32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FE79-43B7-8A1A-3B973BF29255}"/>
                </c:ext>
              </c:extLst>
            </c:dLbl>
            <c:dLbl>
              <c:idx val="29"/>
              <c:tx>
                <c:rich>
                  <a:bodyPr/>
                  <a:lstStyle/>
                  <a:p>
                    <a:fld id="{FBF9FED8-1D69-4A7E-8645-3D15534B6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FE79-43B7-8A1A-3B973BF29255}"/>
                </c:ext>
              </c:extLst>
            </c:dLbl>
            <c:dLbl>
              <c:idx val="30"/>
              <c:tx>
                <c:rich>
                  <a:bodyPr/>
                  <a:lstStyle/>
                  <a:p>
                    <a:fld id="{22B1C68F-D286-4994-82D7-B4AF6A5527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FE79-43B7-8A1A-3B973BF29255}"/>
                </c:ext>
              </c:extLst>
            </c:dLbl>
            <c:dLbl>
              <c:idx val="31"/>
              <c:tx>
                <c:rich>
                  <a:bodyPr/>
                  <a:lstStyle/>
                  <a:p>
                    <a:fld id="{3C2669EA-64EC-42F5-9090-3AF2C7B0A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E79-43B7-8A1A-3B973BF29255}"/>
                </c:ext>
              </c:extLst>
            </c:dLbl>
            <c:dLbl>
              <c:idx val="32"/>
              <c:tx>
                <c:rich>
                  <a:bodyPr/>
                  <a:lstStyle/>
                  <a:p>
                    <a:fld id="{774BF09A-AABE-4A5F-BB45-6ED2554DF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1.195252472913361E-2</c:v>
                </c:pt>
                <c:pt idx="1">
                  <c:v>1.8264702597688202E-2</c:v>
                </c:pt>
                <c:pt idx="2">
                  <c:v>9.5545253015549614E-2</c:v>
                </c:pt>
                <c:pt idx="3">
                  <c:v>-1.9569752037433271E-2</c:v>
                </c:pt>
                <c:pt idx="4">
                  <c:v>-1.994714422242963E-2</c:v>
                </c:pt>
                <c:pt idx="5">
                  <c:v>-1.6725163020640661E-2</c:v>
                </c:pt>
                <c:pt idx="6">
                  <c:v>-2.7454598889243768E-3</c:v>
                </c:pt>
                <c:pt idx="7">
                  <c:v>7.4883911966300218E-3</c:v>
                </c:pt>
                <c:pt idx="8">
                  <c:v>1.079387894487728E-3</c:v>
                </c:pt>
                <c:pt idx="9">
                  <c:v>3.8005493063559721E-3</c:v>
                </c:pt>
                <c:pt idx="10">
                  <c:v>-1.9832160677906632E-3</c:v>
                </c:pt>
              </c:numCache>
            </c:numRef>
          </c:xVal>
          <c:yVal>
            <c:numRef>
              <c:f>Sheet1!$B$2:$B$12</c:f>
              <c:numCache>
                <c:formatCode>General</c:formatCode>
                <c:ptCount val="11"/>
                <c:pt idx="0">
                  <c:v>1.386385734227669E-2</c:v>
                </c:pt>
                <c:pt idx="1">
                  <c:v>-1.5712864284723849E-2</c:v>
                </c:pt>
                <c:pt idx="2">
                  <c:v>0</c:v>
                </c:pt>
                <c:pt idx="3">
                  <c:v>0</c:v>
                </c:pt>
                <c:pt idx="4">
                  <c:v>-3.6227027690043427E-2</c:v>
                </c:pt>
                <c:pt idx="5">
                  <c:v>0</c:v>
                </c:pt>
                <c:pt idx="6">
                  <c:v>-8.457157922668046E-4</c:v>
                </c:pt>
                <c:pt idx="7">
                  <c:v>0</c:v>
                </c:pt>
                <c:pt idx="8">
                  <c:v>2.1108832411571611E-3</c:v>
                </c:pt>
                <c:pt idx="9">
                  <c:v>0</c:v>
                </c:pt>
                <c:pt idx="10">
                  <c:v>-2.4063415545311299E-4</c:v>
                </c:pt>
              </c:numCache>
            </c:numRef>
          </c:yVal>
          <c:bubbleSize>
            <c:numRef>
              <c:f>Sheet1!$C$2:$C$12</c:f>
              <c:numCache>
                <c:formatCode>General</c:formatCode>
                <c:ptCount val="11"/>
                <c:pt idx="0">
                  <c:v>16108620</c:v>
                </c:pt>
                <c:pt idx="1">
                  <c:v>12774315</c:v>
                </c:pt>
                <c:pt idx="2">
                  <c:v>8889711</c:v>
                </c:pt>
                <c:pt idx="3">
                  <c:v>4466526</c:v>
                </c:pt>
                <c:pt idx="4">
                  <c:v>2517046</c:v>
                </c:pt>
                <c:pt idx="5">
                  <c:v>1665377</c:v>
                </c:pt>
                <c:pt idx="6">
                  <c:v>1100140</c:v>
                </c:pt>
                <c:pt idx="7">
                  <c:v>826174</c:v>
                </c:pt>
                <c:pt idx="8">
                  <c:v>708899</c:v>
                </c:pt>
                <c:pt idx="9">
                  <c:v>381075</c:v>
                </c:pt>
                <c:pt idx="10">
                  <c:v>1055</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3.3683183035503037E-3"/>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4.8413658222144842E-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FEF4DE19-8552-43EB-882F-AF732E3DA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6E0F405C-4F80-4F2A-8F3C-D4C189227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6AC987F6-82CB-471C-933D-C9D143211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7E9BCFFC-0669-4DD4-99A4-863B112B9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FCFC7CEC-DD2B-4E61-98FC-24DD752F4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B34D4EFD-BA54-4D45-82DE-A481DDD44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5D0AD071-5B2A-40F3-B330-51EC41435E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040B698C-821B-4AA9-9F02-F3C298738F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45F35E6E-AC69-44D4-88C8-17F09DD13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r>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2B3-43D4-BD21-895ACA67225E}"/>
                </c:ext>
              </c:extLst>
            </c:dLbl>
            <c:dLbl>
              <c:idx val="10"/>
              <c:tx>
                <c:rich>
                  <a:bodyPr/>
                  <a:lstStyle/>
                  <a:p>
                    <a:fld id="{73C66927-671B-41E6-884E-C23CA033E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2B3-43D4-BD21-895ACA67225E}"/>
                </c:ext>
              </c:extLst>
            </c:dLbl>
            <c:dLbl>
              <c:idx val="11"/>
              <c:tx>
                <c:rich>
                  <a:bodyPr/>
                  <a:lstStyle/>
                  <a:p>
                    <a:fld id="{BD7F90BC-7A5E-4473-B772-0E6067ED59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2B3-43D4-BD21-895ACA67225E}"/>
                </c:ext>
              </c:extLst>
            </c:dLbl>
            <c:dLbl>
              <c:idx val="12"/>
              <c:tx>
                <c:rich>
                  <a:bodyPr/>
                  <a:lstStyle/>
                  <a:p>
                    <a:fld id="{29D238EE-805A-427E-94A3-07660A162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2B3-43D4-BD21-895ACA67225E}"/>
                </c:ext>
              </c:extLst>
            </c:dLbl>
            <c:dLbl>
              <c:idx val="13"/>
              <c:tx>
                <c:rich>
                  <a:bodyPr/>
                  <a:lstStyle/>
                  <a:p>
                    <a:fld id="{7AD0A362-872D-43F2-9048-624C40CD2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2B3-43D4-BD21-895ACA67225E}"/>
                </c:ext>
              </c:extLst>
            </c:dLbl>
            <c:dLbl>
              <c:idx val="14"/>
              <c:tx>
                <c:rich>
                  <a:bodyPr/>
                  <a:lstStyle/>
                  <a:p>
                    <a:fld id="{2C6E5888-690B-41A2-A12D-B9D9536D8E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2B3-43D4-BD21-895ACA67225E}"/>
                </c:ext>
              </c:extLst>
            </c:dLbl>
            <c:dLbl>
              <c:idx val="15"/>
              <c:tx>
                <c:rich>
                  <a:bodyPr/>
                  <a:lstStyle/>
                  <a:p>
                    <a:fld id="{0B3C8DE8-340F-4237-8149-1CAA35A53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2B3-43D4-BD21-895ACA67225E}"/>
                </c:ext>
              </c:extLst>
            </c:dLbl>
            <c:dLbl>
              <c:idx val="16"/>
              <c:tx>
                <c:rich>
                  <a:bodyPr/>
                  <a:lstStyle/>
                  <a:p>
                    <a:fld id="{A1277D13-83F3-4309-92FD-D8CFCE55A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2B3-43D4-BD21-895ACA67225E}"/>
                </c:ext>
              </c:extLst>
            </c:dLbl>
            <c:dLbl>
              <c:idx val="17"/>
              <c:tx>
                <c:rich>
                  <a:bodyPr/>
                  <a:lstStyle/>
                  <a:p>
                    <a:fld id="{006038C9-4970-40FC-8963-4DC6E975F0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2B3-43D4-BD21-895ACA67225E}"/>
                </c:ext>
              </c:extLst>
            </c:dLbl>
            <c:dLbl>
              <c:idx val="18"/>
              <c:tx>
                <c:rich>
                  <a:bodyPr/>
                  <a:lstStyle/>
                  <a:p>
                    <a:fld id="{E633CB97-DEDF-4F1E-BF8F-681E69A8E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2B3-43D4-BD21-895ACA67225E}"/>
                </c:ext>
              </c:extLst>
            </c:dLbl>
            <c:dLbl>
              <c:idx val="19"/>
              <c:tx>
                <c:rich>
                  <a:bodyPr/>
                  <a:lstStyle/>
                  <a:p>
                    <a:fld id="{9276F38A-6F18-48A7-B393-13AA08287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2B3-43D4-BD21-895ACA67225E}"/>
                </c:ext>
              </c:extLst>
            </c:dLbl>
            <c:dLbl>
              <c:idx val="20"/>
              <c:tx>
                <c:rich>
                  <a:bodyPr/>
                  <a:lstStyle/>
                  <a:p>
                    <a:fld id="{4E060E43-6CF7-4318-817F-C0AE3C11A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2B3-43D4-BD21-895ACA67225E}"/>
                </c:ext>
              </c:extLst>
            </c:dLbl>
            <c:dLbl>
              <c:idx val="21"/>
              <c:tx>
                <c:rich>
                  <a:bodyPr/>
                  <a:lstStyle/>
                  <a:p>
                    <a:fld id="{3EB00930-D4A9-46E6-A712-766B8B905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6A5-42F8-9CB2-D500C2C49522}"/>
                </c:ext>
              </c:extLst>
            </c:dLbl>
            <c:dLbl>
              <c:idx val="22"/>
              <c:tx>
                <c:rich>
                  <a:bodyPr/>
                  <a:lstStyle/>
                  <a:p>
                    <a:fld id="{B2448D1D-8BD9-4934-AF40-5B4ED731C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6A5-42F8-9CB2-D500C2C49522}"/>
                </c:ext>
              </c:extLst>
            </c:dLbl>
            <c:dLbl>
              <c:idx val="23"/>
              <c:tx>
                <c:rich>
                  <a:bodyPr/>
                  <a:lstStyle/>
                  <a:p>
                    <a:fld id="{963A44D3-2364-42A8-B656-3115C6B697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79-43B7-8A1A-3B973BF29255}"/>
                </c:ext>
              </c:extLst>
            </c:dLbl>
            <c:dLbl>
              <c:idx val="24"/>
              <c:tx>
                <c:rich>
                  <a:bodyPr/>
                  <a:lstStyle/>
                  <a:p>
                    <a:fld id="{E91AC61E-DE3D-43A7-9A9F-4DEB2959C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79-43B7-8A1A-3B973BF29255}"/>
                </c:ext>
              </c:extLst>
            </c:dLbl>
            <c:dLbl>
              <c:idx val="25"/>
              <c:tx>
                <c:rich>
                  <a:bodyPr/>
                  <a:lstStyle/>
                  <a:p>
                    <a:fld id="{46E38194-7497-404D-891D-65D5B8864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79-43B7-8A1A-3B973BF29255}"/>
                </c:ext>
              </c:extLst>
            </c:dLbl>
            <c:dLbl>
              <c:idx val="26"/>
              <c:tx>
                <c:rich>
                  <a:bodyPr/>
                  <a:lstStyle/>
                  <a:p>
                    <a:fld id="{27A6B779-C4FB-4F7A-A7FF-DA4F7B46D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79-43B7-8A1A-3B973BF29255}"/>
                </c:ext>
              </c:extLst>
            </c:dLbl>
            <c:dLbl>
              <c:idx val="27"/>
              <c:tx>
                <c:rich>
                  <a:bodyPr/>
                  <a:lstStyle/>
                  <a:p>
                    <a:fld id="{E8CD56E2-B456-4ABD-92F8-8CCBE40A77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79-43B7-8A1A-3B973BF29255}"/>
                </c:ext>
              </c:extLst>
            </c:dLbl>
            <c:dLbl>
              <c:idx val="28"/>
              <c:tx>
                <c:rich>
                  <a:bodyPr/>
                  <a:lstStyle/>
                  <a:p>
                    <a:fld id="{995C3A13-5662-4DB7-B4B0-17970E21B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FE79-43B7-8A1A-3B973BF29255}"/>
                </c:ext>
              </c:extLst>
            </c:dLbl>
            <c:dLbl>
              <c:idx val="29"/>
              <c:tx>
                <c:rich>
                  <a:bodyPr/>
                  <a:lstStyle/>
                  <a:p>
                    <a:fld id="{C9F92D9F-EF81-4992-B229-AF3C108A5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FE79-43B7-8A1A-3B973BF29255}"/>
                </c:ext>
              </c:extLst>
            </c:dLbl>
            <c:dLbl>
              <c:idx val="30"/>
              <c:tx>
                <c:rich>
                  <a:bodyPr/>
                  <a:lstStyle/>
                  <a:p>
                    <a:fld id="{CEFC5416-4035-4488-88F5-38EA63D0D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FE79-43B7-8A1A-3B973BF29255}"/>
                </c:ext>
              </c:extLst>
            </c:dLbl>
            <c:dLbl>
              <c:idx val="31"/>
              <c:tx>
                <c:rich>
                  <a:bodyPr/>
                  <a:lstStyle/>
                  <a:p>
                    <a:fld id="{0BC90204-CDEF-454F-B72A-FA51F1B0D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E79-43B7-8A1A-3B973BF29255}"/>
                </c:ext>
              </c:extLst>
            </c:dLbl>
            <c:dLbl>
              <c:idx val="32"/>
              <c:tx>
                <c:rich>
                  <a:bodyPr/>
                  <a:lstStyle/>
                  <a:p>
                    <a:fld id="{E73F2D95-418F-42EB-8E3D-56CE7ABD3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1.9944169089776702E-3</c:v>
                </c:pt>
                <c:pt idx="1">
                  <c:v>-1.44787317056288E-2</c:v>
                </c:pt>
                <c:pt idx="2">
                  <c:v>2.8894879189037988E-2</c:v>
                </c:pt>
                <c:pt idx="3">
                  <c:v>8.3367306370196459E-3</c:v>
                </c:pt>
                <c:pt idx="4">
                  <c:v>-2.415032757234498E-2</c:v>
                </c:pt>
                <c:pt idx="5">
                  <c:v>1.539571899379194E-2</c:v>
                </c:pt>
                <c:pt idx="6">
                  <c:v>7.6064717906190599E-3</c:v>
                </c:pt>
                <c:pt idx="7">
                  <c:v>-2.694588160593175E-3</c:v>
                </c:pt>
                <c:pt idx="8">
                  <c:v>8.4444400382108209E-3</c:v>
                </c:pt>
                <c:pt idx="9">
                  <c:v>6.2293696297711643E-3</c:v>
                </c:pt>
              </c:numCache>
            </c:numRef>
          </c:xVal>
          <c:yVal>
            <c:numRef>
              <c:f>Sheet1!$B$2:$B$11</c:f>
              <c:numCache>
                <c:formatCode>General</c:formatCode>
                <c:ptCount val="10"/>
                <c:pt idx="0">
                  <c:v>-2.5400742970360098E-2</c:v>
                </c:pt>
                <c:pt idx="1">
                  <c:v>6.372680196070124E-3</c:v>
                </c:pt>
                <c:pt idx="2">
                  <c:v>2.4643776628135768E-2</c:v>
                </c:pt>
                <c:pt idx="3">
                  <c:v>1.8606733988965559E-2</c:v>
                </c:pt>
                <c:pt idx="4">
                  <c:v>-2.891903311156693E-2</c:v>
                </c:pt>
                <c:pt idx="5">
                  <c:v>1.429309669003642E-2</c:v>
                </c:pt>
                <c:pt idx="6">
                  <c:v>7.4597326992908164E-3</c:v>
                </c:pt>
                <c:pt idx="7">
                  <c:v>-8.3444879828964702E-3</c:v>
                </c:pt>
                <c:pt idx="8">
                  <c:v>7.6412432032360866E-3</c:v>
                </c:pt>
                <c:pt idx="9">
                  <c:v>1.1781618705277681E-2</c:v>
                </c:pt>
              </c:numCache>
            </c:numRef>
          </c:yVal>
          <c:bubbleSize>
            <c:numRef>
              <c:f>Sheet1!$C$2:$C$11</c:f>
              <c:numCache>
                <c:formatCode>General</c:formatCode>
                <c:ptCount val="10"/>
                <c:pt idx="0">
                  <c:v>30468308</c:v>
                </c:pt>
                <c:pt idx="1">
                  <c:v>22613796</c:v>
                </c:pt>
                <c:pt idx="2">
                  <c:v>22557022</c:v>
                </c:pt>
                <c:pt idx="3">
                  <c:v>21233281</c:v>
                </c:pt>
                <c:pt idx="4">
                  <c:v>19313906</c:v>
                </c:pt>
                <c:pt idx="5">
                  <c:v>16396938</c:v>
                </c:pt>
                <c:pt idx="6">
                  <c:v>10731593</c:v>
                </c:pt>
                <c:pt idx="7">
                  <c:v>10594194</c:v>
                </c:pt>
                <c:pt idx="8">
                  <c:v>8292955</c:v>
                </c:pt>
                <c:pt idx="9">
                  <c:v>5799659</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2.8134618046188956E-3"/>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3.557837974886134E-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14D0FC03-AAC6-415F-8E53-00DA2FF84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AD2BDE59-FBD1-456E-86D1-508E9CD16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2B6F8108-208C-4042-BC82-3CB1136F0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27B385A3-2857-4468-B620-0B1A50F31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73997568-978D-452C-91EC-E05AA66F3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CBAF123E-767F-4B83-8EAA-E9AC317F5B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8A36318D-6570-4032-9B58-3F7960526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D38CFC1B-25A9-417F-A57A-39258354F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95A9FCD0-249E-4E3F-A7A4-7B83B3053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E835590A-ED03-4153-AAAA-9A3856E11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0E24434C-8B1D-4BF2-A614-A733B6988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064B14E2-1320-4B43-8776-661A137700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2B3-43D4-BD21-895ACA67225E}"/>
                </c:ext>
              </c:extLst>
            </c:dLbl>
            <c:dLbl>
              <c:idx val="13"/>
              <c:tx>
                <c:rich>
                  <a:bodyPr/>
                  <a:lstStyle/>
                  <a:p>
                    <a:fld id="{0FC8505D-A3B8-4050-BB26-788813994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2B3-43D4-BD21-895ACA67225E}"/>
                </c:ext>
              </c:extLst>
            </c:dLbl>
            <c:dLbl>
              <c:idx val="14"/>
              <c:tx>
                <c:rich>
                  <a:bodyPr/>
                  <a:lstStyle/>
                  <a:p>
                    <a:fld id="{96B8D343-FAAE-46DA-8360-212657D6DB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2B3-43D4-BD21-895ACA67225E}"/>
                </c:ext>
              </c:extLst>
            </c:dLbl>
            <c:dLbl>
              <c:idx val="15"/>
              <c:tx>
                <c:rich>
                  <a:bodyPr/>
                  <a:lstStyle/>
                  <a:p>
                    <a:fld id="{5E839F90-6D48-4802-8839-0BDB044BB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2B3-43D4-BD21-895ACA67225E}"/>
                </c:ext>
              </c:extLst>
            </c:dLbl>
            <c:dLbl>
              <c:idx val="16"/>
              <c:tx>
                <c:rich>
                  <a:bodyPr/>
                  <a:lstStyle/>
                  <a:p>
                    <a:fld id="{A5D0F6F5-2111-45D0-82CE-A9DD6D6DCA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2B3-43D4-BD21-895ACA67225E}"/>
                </c:ext>
              </c:extLst>
            </c:dLbl>
            <c:dLbl>
              <c:idx val="17"/>
              <c:tx>
                <c:rich>
                  <a:bodyPr/>
                  <a:lstStyle/>
                  <a:p>
                    <a:fld id="{09D7A813-656B-48F2-9F60-F59F20E7A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2B3-43D4-BD21-895ACA67225E}"/>
                </c:ext>
              </c:extLst>
            </c:dLbl>
            <c:dLbl>
              <c:idx val="18"/>
              <c:tx>
                <c:rich>
                  <a:bodyPr/>
                  <a:lstStyle/>
                  <a:p>
                    <a:fld id="{48C8DE75-798C-453E-BEAD-E5A89D8B6C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2B3-43D4-BD21-895ACA67225E}"/>
                </c:ext>
              </c:extLst>
            </c:dLbl>
            <c:dLbl>
              <c:idx val="19"/>
              <c:tx>
                <c:rich>
                  <a:bodyPr/>
                  <a:lstStyle/>
                  <a:p>
                    <a:fld id="{76DCD872-A143-4C14-8495-1510D78CC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2B3-43D4-BD21-895ACA67225E}"/>
                </c:ext>
              </c:extLst>
            </c:dLbl>
            <c:dLbl>
              <c:idx val="20"/>
              <c:tx>
                <c:rich>
                  <a:bodyPr/>
                  <a:lstStyle/>
                  <a:p>
                    <a:fld id="{F822FD33-6F81-4FD7-A85F-E088ADFDC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2B3-43D4-BD21-895ACA67225E}"/>
                </c:ext>
              </c:extLst>
            </c:dLbl>
            <c:dLbl>
              <c:idx val="21"/>
              <c:tx>
                <c:rich>
                  <a:bodyPr/>
                  <a:lstStyle/>
                  <a:p>
                    <a:fld id="{BB889C0B-4E8F-49CB-BEF0-3A7027C59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6A5-42F8-9CB2-D500C2C49522}"/>
                </c:ext>
              </c:extLst>
            </c:dLbl>
            <c:dLbl>
              <c:idx val="22"/>
              <c:tx>
                <c:rich>
                  <a:bodyPr/>
                  <a:lstStyle/>
                  <a:p>
                    <a:fld id="{915C3B45-7A94-48A9-A1CF-FBCEDE03B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6A5-42F8-9CB2-D500C2C49522}"/>
                </c:ext>
              </c:extLst>
            </c:dLbl>
            <c:dLbl>
              <c:idx val="23"/>
              <c:tx>
                <c:rich>
                  <a:bodyPr/>
                  <a:lstStyle/>
                  <a:p>
                    <a:fld id="{49438958-595C-4FC1-B756-076177759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79-43B7-8A1A-3B973BF29255}"/>
                </c:ext>
              </c:extLst>
            </c:dLbl>
            <c:dLbl>
              <c:idx val="24"/>
              <c:tx>
                <c:rich>
                  <a:bodyPr/>
                  <a:lstStyle/>
                  <a:p>
                    <a:fld id="{6564E8D1-4B18-4D1D-BD9E-C174DDB21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79-43B7-8A1A-3B973BF29255}"/>
                </c:ext>
              </c:extLst>
            </c:dLbl>
            <c:dLbl>
              <c:idx val="25"/>
              <c:tx>
                <c:rich>
                  <a:bodyPr/>
                  <a:lstStyle/>
                  <a:p>
                    <a:fld id="{70CF08A6-DAAF-444C-8B9F-AFC432A8B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79-43B7-8A1A-3B973BF29255}"/>
                </c:ext>
              </c:extLst>
            </c:dLbl>
            <c:dLbl>
              <c:idx val="26"/>
              <c:tx>
                <c:rich>
                  <a:bodyPr/>
                  <a:lstStyle/>
                  <a:p>
                    <a:fld id="{FAE712FB-0848-438E-90F5-343D6877F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79-43B7-8A1A-3B973BF29255}"/>
                </c:ext>
              </c:extLst>
            </c:dLbl>
            <c:dLbl>
              <c:idx val="27"/>
              <c:tx>
                <c:rich>
                  <a:bodyPr/>
                  <a:lstStyle/>
                  <a:p>
                    <a:fld id="{980D43A4-78E2-4E4D-8CBD-363CDABC9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79-43B7-8A1A-3B973BF29255}"/>
                </c:ext>
              </c:extLst>
            </c:dLbl>
            <c:dLbl>
              <c:idx val="28"/>
              <c:tx>
                <c:rich>
                  <a:bodyPr/>
                  <a:lstStyle/>
                  <a:p>
                    <a:fld id="{32432CD1-AF40-4C96-B81F-DE1BDC083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FE79-43B7-8A1A-3B973BF29255}"/>
                </c:ext>
              </c:extLst>
            </c:dLbl>
            <c:dLbl>
              <c:idx val="29"/>
              <c:tx>
                <c:rich>
                  <a:bodyPr/>
                  <a:lstStyle/>
                  <a:p>
                    <a:fld id="{AE46738B-F720-4C95-BD00-584FEA8861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FE79-43B7-8A1A-3B973BF29255}"/>
                </c:ext>
              </c:extLst>
            </c:dLbl>
            <c:dLbl>
              <c:idx val="30"/>
              <c:tx>
                <c:rich>
                  <a:bodyPr/>
                  <a:lstStyle/>
                  <a:p>
                    <a:fld id="{8FF8EBD5-ABEA-4CB3-9473-0C24F66DA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FE79-43B7-8A1A-3B973BF29255}"/>
                </c:ext>
              </c:extLst>
            </c:dLbl>
            <c:dLbl>
              <c:idx val="31"/>
              <c:tx>
                <c:rich>
                  <a:bodyPr/>
                  <a:lstStyle/>
                  <a:p>
                    <a:fld id="{8B4C8027-FFE8-439E-95AB-38DBCB5F4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E79-43B7-8A1A-3B973BF29255}"/>
                </c:ext>
              </c:extLst>
            </c:dLbl>
            <c:dLbl>
              <c:idx val="32"/>
              <c:tx>
                <c:rich>
                  <a:bodyPr/>
                  <a:lstStyle/>
                  <a:p>
                    <a:fld id="{A6B6B174-48DA-4914-BBD6-0D0CBA9D71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4</c:f>
              <c:numCache>
                <c:formatCode>General</c:formatCode>
                <c:ptCount val="13"/>
                <c:pt idx="0">
                  <c:v>8.0200325746076495E-3</c:v>
                </c:pt>
                <c:pt idx="1">
                  <c:v>4.1125386423628403E-2</c:v>
                </c:pt>
                <c:pt idx="2">
                  <c:v>-6.9432338697573703E-3</c:v>
                </c:pt>
                <c:pt idx="3">
                  <c:v>1.6126440393320559E-2</c:v>
                </c:pt>
                <c:pt idx="4">
                  <c:v>-3.4278747348591647E-2</c:v>
                </c:pt>
                <c:pt idx="5">
                  <c:v>-2.6172930709172089E-3</c:v>
                </c:pt>
                <c:pt idx="6">
                  <c:v>-1.5794315397958111E-2</c:v>
                </c:pt>
                <c:pt idx="7">
                  <c:v>-3.476109247528239E-3</c:v>
                </c:pt>
                <c:pt idx="8">
                  <c:v>3.8609300190625563E-2</c:v>
                </c:pt>
                <c:pt idx="9">
                  <c:v>-2.215968394311281E-2</c:v>
                </c:pt>
                <c:pt idx="10">
                  <c:v>-2.96163389113652E-3</c:v>
                </c:pt>
                <c:pt idx="11">
                  <c:v>3.4650669276188589E-4</c:v>
                </c:pt>
                <c:pt idx="12">
                  <c:v>7.1482032968675183E-7</c:v>
                </c:pt>
              </c:numCache>
            </c:numRef>
          </c:xVal>
          <c:yVal>
            <c:numRef>
              <c:f>Sheet1!$B$2:$B$14</c:f>
              <c:numCache>
                <c:formatCode>General</c:formatCode>
                <c:ptCount val="13"/>
                <c:pt idx="0">
                  <c:v>1.134454544063962E-2</c:v>
                </c:pt>
                <c:pt idx="1">
                  <c:v>4.1843840151496059E-2</c:v>
                </c:pt>
                <c:pt idx="2">
                  <c:v>-2.5297902072027811E-2</c:v>
                </c:pt>
                <c:pt idx="3">
                  <c:v>2.2403379644771629E-2</c:v>
                </c:pt>
                <c:pt idx="4">
                  <c:v>-5.1946576090862562E-2</c:v>
                </c:pt>
                <c:pt idx="5">
                  <c:v>-2.5591011469155159E-2</c:v>
                </c:pt>
                <c:pt idx="6">
                  <c:v>-7.5716634262982113E-3</c:v>
                </c:pt>
                <c:pt idx="7">
                  <c:v>-1.638152798766432E-3</c:v>
                </c:pt>
                <c:pt idx="8">
                  <c:v>3.8247371508918743E-2</c:v>
                </c:pt>
                <c:pt idx="9">
                  <c:v>4.6063734469084378E-3</c:v>
                </c:pt>
                <c:pt idx="10">
                  <c:v>-7.8379809013601458E-3</c:v>
                </c:pt>
                <c:pt idx="11">
                  <c:v>-5.4833979885152446E-3</c:v>
                </c:pt>
                <c:pt idx="12">
                  <c:v>8.7659917819501354E-7</c:v>
                </c:pt>
              </c:numCache>
            </c:numRef>
          </c:yVal>
          <c:bubbleSize>
            <c:numRef>
              <c:f>Sheet1!$C$2:$C$14</c:f>
              <c:numCache>
                <c:formatCode>General</c:formatCode>
                <c:ptCount val="13"/>
                <c:pt idx="0">
                  <c:v>30956719</c:v>
                </c:pt>
                <c:pt idx="1">
                  <c:v>30253337</c:v>
                </c:pt>
                <c:pt idx="2">
                  <c:v>16850297</c:v>
                </c:pt>
                <c:pt idx="3">
                  <c:v>16088426</c:v>
                </c:pt>
                <c:pt idx="4">
                  <c:v>14481315</c:v>
                </c:pt>
                <c:pt idx="5">
                  <c:v>14007524</c:v>
                </c:pt>
                <c:pt idx="6">
                  <c:v>12545434</c:v>
                </c:pt>
                <c:pt idx="7">
                  <c:v>12208672</c:v>
                </c:pt>
                <c:pt idx="8">
                  <c:v>12109563</c:v>
                </c:pt>
                <c:pt idx="9">
                  <c:v>11825696</c:v>
                </c:pt>
                <c:pt idx="10">
                  <c:v>1583106</c:v>
                </c:pt>
                <c:pt idx="11">
                  <c:v>802773</c:v>
                </c:pt>
                <c:pt idx="12">
                  <c:v>8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5.3233061192868331E-4"/>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1.230566486636294E-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B1D3AFA4-7B25-49D8-B125-0522BD994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BCEEED94-24AD-438B-9D01-BB85AD59C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60E6AACC-09D1-4264-A94E-AF3B09BDE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1B9B6B8C-23A3-4B1E-9F06-06538AE7F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B1BA8D79-609C-4F2A-88C3-0645CF1BA1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16FF8EA3-8A1B-4E7F-A910-7393D25E6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0627CFF1-E5B3-4724-851F-91B8C2E53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AF36AB0C-123A-46BF-9036-397FA2F0B4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74DDDC3E-EE33-49A0-958E-7C3762114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r>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2B3-43D4-BD21-895ACA67225E}"/>
                </c:ext>
              </c:extLst>
            </c:dLbl>
            <c:dLbl>
              <c:idx val="10"/>
              <c:tx>
                <c:rich>
                  <a:bodyPr/>
                  <a:lstStyle/>
                  <a:p>
                    <a:fld id="{4BBC0513-5217-4DE1-83EA-93D9B2198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2B3-43D4-BD21-895ACA67225E}"/>
                </c:ext>
              </c:extLst>
            </c:dLbl>
            <c:dLbl>
              <c:idx val="11"/>
              <c:tx>
                <c:rich>
                  <a:bodyPr/>
                  <a:lstStyle/>
                  <a:p>
                    <a:fld id="{321600C5-7806-4722-BD21-A0B3AA85A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2B3-43D4-BD21-895ACA67225E}"/>
                </c:ext>
              </c:extLst>
            </c:dLbl>
            <c:dLbl>
              <c:idx val="12"/>
              <c:tx>
                <c:rich>
                  <a:bodyPr/>
                  <a:lstStyle/>
                  <a:p>
                    <a:fld id="{52113BB0-89B7-472C-B577-67E6289B9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2B3-43D4-BD21-895ACA67225E}"/>
                </c:ext>
              </c:extLst>
            </c:dLbl>
            <c:dLbl>
              <c:idx val="13"/>
              <c:tx>
                <c:rich>
                  <a:bodyPr/>
                  <a:lstStyle/>
                  <a:p>
                    <a:fld id="{7D98D1A5-3AD4-40CD-9A1C-B6A8759CA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2B3-43D4-BD21-895ACA67225E}"/>
                </c:ext>
              </c:extLst>
            </c:dLbl>
            <c:dLbl>
              <c:idx val="14"/>
              <c:tx>
                <c:rich>
                  <a:bodyPr/>
                  <a:lstStyle/>
                  <a:p>
                    <a:fld id="{187DE0AD-D037-4F78-B656-35D160E6C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2B3-43D4-BD21-895ACA67225E}"/>
                </c:ext>
              </c:extLst>
            </c:dLbl>
            <c:dLbl>
              <c:idx val="15"/>
              <c:tx>
                <c:rich>
                  <a:bodyPr/>
                  <a:lstStyle/>
                  <a:p>
                    <a:fld id="{D6C473B2-3A36-468D-B5C6-76189296B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2B3-43D4-BD21-895ACA67225E}"/>
                </c:ext>
              </c:extLst>
            </c:dLbl>
            <c:dLbl>
              <c:idx val="16"/>
              <c:tx>
                <c:rich>
                  <a:bodyPr/>
                  <a:lstStyle/>
                  <a:p>
                    <a:fld id="{9907F063-D9ED-447D-A0DA-CA3A829A1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2B3-43D4-BD21-895ACA67225E}"/>
                </c:ext>
              </c:extLst>
            </c:dLbl>
            <c:dLbl>
              <c:idx val="17"/>
              <c:tx>
                <c:rich>
                  <a:bodyPr/>
                  <a:lstStyle/>
                  <a:p>
                    <a:fld id="{80B87578-03A2-455A-B13D-1FA5AC676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2B3-43D4-BD21-895ACA67225E}"/>
                </c:ext>
              </c:extLst>
            </c:dLbl>
            <c:dLbl>
              <c:idx val="18"/>
              <c:tx>
                <c:rich>
                  <a:bodyPr/>
                  <a:lstStyle/>
                  <a:p>
                    <a:fld id="{EDE8BB8D-B5C9-496B-AA18-48C793078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2B3-43D4-BD21-895ACA67225E}"/>
                </c:ext>
              </c:extLst>
            </c:dLbl>
            <c:dLbl>
              <c:idx val="19"/>
              <c:tx>
                <c:rich>
                  <a:bodyPr/>
                  <a:lstStyle/>
                  <a:p>
                    <a:fld id="{ABE71F46-5565-47D4-A603-BB516A9FF1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2B3-43D4-BD21-895ACA67225E}"/>
                </c:ext>
              </c:extLst>
            </c:dLbl>
            <c:dLbl>
              <c:idx val="20"/>
              <c:tx>
                <c:rich>
                  <a:bodyPr/>
                  <a:lstStyle/>
                  <a:p>
                    <a:fld id="{D1E4FD2B-55AC-4C32-BC05-6CE13F7A34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2B3-43D4-BD21-895ACA67225E}"/>
                </c:ext>
              </c:extLst>
            </c:dLbl>
            <c:dLbl>
              <c:idx val="21"/>
              <c:tx>
                <c:rich>
                  <a:bodyPr/>
                  <a:lstStyle/>
                  <a:p>
                    <a:fld id="{EFA4CF06-69E0-4168-82A1-ADC7C07E3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6A5-42F8-9CB2-D500C2C49522}"/>
                </c:ext>
              </c:extLst>
            </c:dLbl>
            <c:dLbl>
              <c:idx val="22"/>
              <c:tx>
                <c:rich>
                  <a:bodyPr/>
                  <a:lstStyle/>
                  <a:p>
                    <a:fld id="{F0CE914B-A5AC-4D05-90D1-D66273FFA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6A5-42F8-9CB2-D500C2C49522}"/>
                </c:ext>
              </c:extLst>
            </c:dLbl>
            <c:dLbl>
              <c:idx val="23"/>
              <c:tx>
                <c:rich>
                  <a:bodyPr/>
                  <a:lstStyle/>
                  <a:p>
                    <a:fld id="{BEC9208F-A815-4A0A-899C-5C7D9D71B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79-43B7-8A1A-3B973BF29255}"/>
                </c:ext>
              </c:extLst>
            </c:dLbl>
            <c:dLbl>
              <c:idx val="24"/>
              <c:tx>
                <c:rich>
                  <a:bodyPr/>
                  <a:lstStyle/>
                  <a:p>
                    <a:fld id="{8B709E1A-AB7E-4BE4-8E2D-4A3D5E791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79-43B7-8A1A-3B973BF29255}"/>
                </c:ext>
              </c:extLst>
            </c:dLbl>
            <c:dLbl>
              <c:idx val="25"/>
              <c:tx>
                <c:rich>
                  <a:bodyPr/>
                  <a:lstStyle/>
                  <a:p>
                    <a:fld id="{345135D3-0692-4C74-81F8-4219146AB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79-43B7-8A1A-3B973BF29255}"/>
                </c:ext>
              </c:extLst>
            </c:dLbl>
            <c:dLbl>
              <c:idx val="26"/>
              <c:tx>
                <c:rich>
                  <a:bodyPr/>
                  <a:lstStyle/>
                  <a:p>
                    <a:fld id="{A01A2D47-CB24-4E05-B12A-29A8E7CBA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79-43B7-8A1A-3B973BF29255}"/>
                </c:ext>
              </c:extLst>
            </c:dLbl>
            <c:dLbl>
              <c:idx val="27"/>
              <c:tx>
                <c:rich>
                  <a:bodyPr/>
                  <a:lstStyle/>
                  <a:p>
                    <a:fld id="{4C3330D2-3E86-4EEE-96E8-24CC5DB79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79-43B7-8A1A-3B973BF29255}"/>
                </c:ext>
              </c:extLst>
            </c:dLbl>
            <c:dLbl>
              <c:idx val="28"/>
              <c:tx>
                <c:rich>
                  <a:bodyPr/>
                  <a:lstStyle/>
                  <a:p>
                    <a:fld id="{42D51312-8AC3-46D8-AAEA-A99166A72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FE79-43B7-8A1A-3B973BF29255}"/>
                </c:ext>
              </c:extLst>
            </c:dLbl>
            <c:dLbl>
              <c:idx val="29"/>
              <c:tx>
                <c:rich>
                  <a:bodyPr/>
                  <a:lstStyle/>
                  <a:p>
                    <a:fld id="{AC165F99-313D-4C5D-9AED-4CEC9B129F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FE79-43B7-8A1A-3B973BF29255}"/>
                </c:ext>
              </c:extLst>
            </c:dLbl>
            <c:dLbl>
              <c:idx val="30"/>
              <c:tx>
                <c:rich>
                  <a:bodyPr/>
                  <a:lstStyle/>
                  <a:p>
                    <a:fld id="{D5499B3D-DC51-4B05-AA27-D8EA6CEE3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FE79-43B7-8A1A-3B973BF29255}"/>
                </c:ext>
              </c:extLst>
            </c:dLbl>
            <c:dLbl>
              <c:idx val="31"/>
              <c:tx>
                <c:rich>
                  <a:bodyPr/>
                  <a:lstStyle/>
                  <a:p>
                    <a:fld id="{6C450635-CB2F-4B27-97DD-2E418258FA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E79-43B7-8A1A-3B973BF29255}"/>
                </c:ext>
              </c:extLst>
            </c:dLbl>
            <c:dLbl>
              <c:idx val="32"/>
              <c:tx>
                <c:rich>
                  <a:bodyPr/>
                  <a:lstStyle/>
                  <a:p>
                    <a:fld id="{6B3F371C-1A46-497E-BB54-9B87758E4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3.302020079667622E-3</c:v>
                </c:pt>
                <c:pt idx="1">
                  <c:v>-1.6588715220948621E-2</c:v>
                </c:pt>
                <c:pt idx="2">
                  <c:v>6.6168062492919372E-3</c:v>
                </c:pt>
                <c:pt idx="3">
                  <c:v>5.7809601776077912E-3</c:v>
                </c:pt>
                <c:pt idx="4">
                  <c:v>-1.0318821225610361E-2</c:v>
                </c:pt>
                <c:pt idx="5">
                  <c:v>6.9650747643356381E-3</c:v>
                </c:pt>
                <c:pt idx="6">
                  <c:v>6.592331405637572E-4</c:v>
                </c:pt>
                <c:pt idx="7">
                  <c:v>1.123008579196757E-2</c:v>
                </c:pt>
                <c:pt idx="8">
                  <c:v>-2.0702689487082679E-3</c:v>
                </c:pt>
                <c:pt idx="9">
                  <c:v>-3.3823806485240629E-3</c:v>
                </c:pt>
              </c:numCache>
            </c:numRef>
          </c:xVal>
          <c:yVal>
            <c:numRef>
              <c:f>Sheet1!$B$2:$B$11</c:f>
              <c:numCache>
                <c:formatCode>General</c:formatCode>
                <c:ptCount val="10"/>
                <c:pt idx="0">
                  <c:v>-6.1254214823056596E-3</c:v>
                </c:pt>
                <c:pt idx="1">
                  <c:v>-2.5242361173256841E-2</c:v>
                </c:pt>
                <c:pt idx="2">
                  <c:v>1.986455555086622E-2</c:v>
                </c:pt>
                <c:pt idx="3">
                  <c:v>1.5963333923496581E-2</c:v>
                </c:pt>
                <c:pt idx="4">
                  <c:v>-9.8148104168321454E-3</c:v>
                </c:pt>
                <c:pt idx="5">
                  <c:v>7.541255842772307E-3</c:v>
                </c:pt>
                <c:pt idx="6">
                  <c:v>-5.7517034613772527E-3</c:v>
                </c:pt>
                <c:pt idx="7">
                  <c:v>1.6999501974530928E-2</c:v>
                </c:pt>
                <c:pt idx="8">
                  <c:v>-2.870022864424903E-3</c:v>
                </c:pt>
                <c:pt idx="9">
                  <c:v>-6.4346638909202128E-3</c:v>
                </c:pt>
              </c:numCache>
            </c:numRef>
          </c:yVal>
          <c:bubbleSize>
            <c:numRef>
              <c:f>Sheet1!$C$2:$C$11</c:f>
              <c:numCache>
                <c:formatCode>General</c:formatCode>
                <c:ptCount val="10"/>
                <c:pt idx="0">
                  <c:v>111360239</c:v>
                </c:pt>
                <c:pt idx="1">
                  <c:v>70217825</c:v>
                </c:pt>
                <c:pt idx="2">
                  <c:v>24758860</c:v>
                </c:pt>
                <c:pt idx="3">
                  <c:v>23364293</c:v>
                </c:pt>
                <c:pt idx="4">
                  <c:v>19606463</c:v>
                </c:pt>
                <c:pt idx="5">
                  <c:v>15221952</c:v>
                </c:pt>
                <c:pt idx="6">
                  <c:v>7314596</c:v>
                </c:pt>
                <c:pt idx="7">
                  <c:v>5338491</c:v>
                </c:pt>
                <c:pt idx="8">
                  <c:v>3196825</c:v>
                </c:pt>
                <c:pt idx="9">
                  <c:v>1794318</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4.1296640025490183E-4"/>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2.1939941596430031E-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36C9FDBC-A6E3-4B5D-973D-AAF667636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F7B15A37-9499-4CC7-B21A-C6663D867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0E7A58A7-C199-471C-950F-1FBCA8C4D0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4A2F3F90-71CF-4A58-96D0-97E309D5F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D8B9C71C-9829-42B8-BCA8-1DC8B1CA9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559D25D2-0CE4-4FCF-903E-AE75F8DD4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3E5445B1-B222-4114-A313-E9F40BB18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4A376064-2437-49FA-9C3A-600DEFEB17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DA0D60AE-42B3-4DC6-984B-7A7948851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C0E6F47D-1B11-4F45-9B7C-85CC4B7F8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77E0A41F-8713-41A8-9949-A4EAFF8F2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F180C49A-6639-4F01-8AF0-6D59689A2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2B3-43D4-BD21-895ACA67225E}"/>
                </c:ext>
              </c:extLst>
            </c:dLbl>
            <c:dLbl>
              <c:idx val="13"/>
              <c:tx>
                <c:rich>
                  <a:bodyPr/>
                  <a:lstStyle/>
                  <a:p>
                    <a:fld id="{E043EB85-26CD-44F8-AB4F-0FA559FD5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2B3-43D4-BD21-895ACA67225E}"/>
                </c:ext>
              </c:extLst>
            </c:dLbl>
            <c:dLbl>
              <c:idx val="14"/>
              <c:tx>
                <c:rich>
                  <a:bodyPr/>
                  <a:lstStyle/>
                  <a:p>
                    <a:fld id="{2664E6E3-6D46-4EE6-B26A-66846AB3B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2B3-43D4-BD21-895ACA67225E}"/>
                </c:ext>
              </c:extLst>
            </c:dLbl>
            <c:dLbl>
              <c:idx val="15"/>
              <c:tx>
                <c:rich>
                  <a:bodyPr/>
                  <a:lstStyle/>
                  <a:p>
                    <a:fld id="{CE1F7443-2CD6-4AE0-BE0E-83A56C0CBF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2B3-43D4-BD21-895ACA67225E}"/>
                </c:ext>
              </c:extLst>
            </c:dLbl>
            <c:dLbl>
              <c:idx val="16"/>
              <c:tx>
                <c:rich>
                  <a:bodyPr/>
                  <a:lstStyle/>
                  <a:p>
                    <a:fld id="{260082CE-8898-4B57-BF34-67A0DC99E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2B3-43D4-BD21-895ACA67225E}"/>
                </c:ext>
              </c:extLst>
            </c:dLbl>
            <c:dLbl>
              <c:idx val="17"/>
              <c:tx>
                <c:rich>
                  <a:bodyPr/>
                  <a:lstStyle/>
                  <a:p>
                    <a:fld id="{DC93B8EF-7C7C-4249-9617-264635F29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2B3-43D4-BD21-895ACA67225E}"/>
                </c:ext>
              </c:extLst>
            </c:dLbl>
            <c:dLbl>
              <c:idx val="18"/>
              <c:tx>
                <c:rich>
                  <a:bodyPr/>
                  <a:lstStyle/>
                  <a:p>
                    <a:fld id="{7F7F9E45-79E5-4026-B2F6-D3C10E61A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2B3-43D4-BD21-895ACA67225E}"/>
                </c:ext>
              </c:extLst>
            </c:dLbl>
            <c:dLbl>
              <c:idx val="19"/>
              <c:tx>
                <c:rich>
                  <a:bodyPr/>
                  <a:lstStyle/>
                  <a:p>
                    <a:fld id="{EC8455AE-E9B7-4510-91FC-B700E977B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2B3-43D4-BD21-895ACA67225E}"/>
                </c:ext>
              </c:extLst>
            </c:dLbl>
            <c:dLbl>
              <c:idx val="20"/>
              <c:tx>
                <c:rich>
                  <a:bodyPr/>
                  <a:lstStyle/>
                  <a:p>
                    <a:fld id="{89EFA976-5418-43FA-805D-2F05D4D70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2B3-43D4-BD21-895ACA67225E}"/>
                </c:ext>
              </c:extLst>
            </c:dLbl>
            <c:dLbl>
              <c:idx val="21"/>
              <c:tx>
                <c:rich>
                  <a:bodyPr/>
                  <a:lstStyle/>
                  <a:p>
                    <a:fld id="{D7CC3BF4-EB6C-421C-B5B0-886BDC4E1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6A5-42F8-9CB2-D500C2C49522}"/>
                </c:ext>
              </c:extLst>
            </c:dLbl>
            <c:dLbl>
              <c:idx val="22"/>
              <c:tx>
                <c:rich>
                  <a:bodyPr/>
                  <a:lstStyle/>
                  <a:p>
                    <a:fld id="{F6C81C0A-01B6-47B0-BC63-0B0FF6AD17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6A5-42F8-9CB2-D500C2C49522}"/>
                </c:ext>
              </c:extLst>
            </c:dLbl>
            <c:dLbl>
              <c:idx val="23"/>
              <c:tx>
                <c:rich>
                  <a:bodyPr/>
                  <a:lstStyle/>
                  <a:p>
                    <a:fld id="{81A37891-CDA9-4BF7-B602-08516F936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79-43B7-8A1A-3B973BF29255}"/>
                </c:ext>
              </c:extLst>
            </c:dLbl>
            <c:dLbl>
              <c:idx val="24"/>
              <c:tx>
                <c:rich>
                  <a:bodyPr/>
                  <a:lstStyle/>
                  <a:p>
                    <a:fld id="{1FC1CFBC-6CE4-473A-94B8-E49E5C094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79-43B7-8A1A-3B973BF29255}"/>
                </c:ext>
              </c:extLst>
            </c:dLbl>
            <c:dLbl>
              <c:idx val="25"/>
              <c:tx>
                <c:rich>
                  <a:bodyPr/>
                  <a:lstStyle/>
                  <a:p>
                    <a:fld id="{7FA1AC22-DBCA-456C-9617-B3EC002FF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79-43B7-8A1A-3B973BF29255}"/>
                </c:ext>
              </c:extLst>
            </c:dLbl>
            <c:dLbl>
              <c:idx val="26"/>
              <c:tx>
                <c:rich>
                  <a:bodyPr/>
                  <a:lstStyle/>
                  <a:p>
                    <a:fld id="{21B50DDD-53E3-4EA1-851F-F778DBFC1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79-43B7-8A1A-3B973BF29255}"/>
                </c:ext>
              </c:extLst>
            </c:dLbl>
            <c:dLbl>
              <c:idx val="27"/>
              <c:tx>
                <c:rich>
                  <a:bodyPr/>
                  <a:lstStyle/>
                  <a:p>
                    <a:fld id="{848EB420-7BBE-434D-A087-014E9007F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79-43B7-8A1A-3B973BF29255}"/>
                </c:ext>
              </c:extLst>
            </c:dLbl>
            <c:dLbl>
              <c:idx val="28"/>
              <c:tx>
                <c:rich>
                  <a:bodyPr/>
                  <a:lstStyle/>
                  <a:p>
                    <a:fld id="{14621EB7-A532-4A0C-9EE9-1FA771E68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FE79-43B7-8A1A-3B973BF29255}"/>
                </c:ext>
              </c:extLst>
            </c:dLbl>
            <c:dLbl>
              <c:idx val="29"/>
              <c:tx>
                <c:rich>
                  <a:bodyPr/>
                  <a:lstStyle/>
                  <a:p>
                    <a:fld id="{A87EF18E-4F49-4F85-91D7-72D2E95F49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FE79-43B7-8A1A-3B973BF29255}"/>
                </c:ext>
              </c:extLst>
            </c:dLbl>
            <c:dLbl>
              <c:idx val="30"/>
              <c:tx>
                <c:rich>
                  <a:bodyPr/>
                  <a:lstStyle/>
                  <a:p>
                    <a:fld id="{A14040BC-038C-47E8-8995-30C657DCB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FE79-43B7-8A1A-3B973BF29255}"/>
                </c:ext>
              </c:extLst>
            </c:dLbl>
            <c:dLbl>
              <c:idx val="31"/>
              <c:tx>
                <c:rich>
                  <a:bodyPr/>
                  <a:lstStyle/>
                  <a:p>
                    <a:fld id="{E167B3A8-1A0D-4684-9F54-33507A94D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E79-43B7-8A1A-3B973BF29255}"/>
                </c:ext>
              </c:extLst>
            </c:dLbl>
            <c:dLbl>
              <c:idx val="32"/>
              <c:tx>
                <c:rich>
                  <a:bodyPr/>
                  <a:lstStyle/>
                  <a:p>
                    <a:fld id="{A4D60567-8ECA-4473-BA9E-2E31E8321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4</c:f>
              <c:numCache>
                <c:formatCode>General</c:formatCode>
                <c:ptCount val="13"/>
                <c:pt idx="0">
                  <c:v>3.3744678836603002E-2</c:v>
                </c:pt>
                <c:pt idx="1">
                  <c:v>4.8407086401251048E-3</c:v>
                </c:pt>
                <c:pt idx="2">
                  <c:v>6.7494658812435994E-3</c:v>
                </c:pt>
                <c:pt idx="3">
                  <c:v>1.328842220871259E-3</c:v>
                </c:pt>
                <c:pt idx="4">
                  <c:v>5.1004200297373962E-3</c:v>
                </c:pt>
                <c:pt idx="5">
                  <c:v>6.5743401053368518E-4</c:v>
                </c:pt>
                <c:pt idx="6">
                  <c:v>4.2886641830862382E-4</c:v>
                </c:pt>
                <c:pt idx="7">
                  <c:v>3.1523351503397411E-3</c:v>
                </c:pt>
                <c:pt idx="8">
                  <c:v>7.546961467011469E-4</c:v>
                </c:pt>
                <c:pt idx="9">
                  <c:v>-1.027709246960921E-4</c:v>
                </c:pt>
                <c:pt idx="10">
                  <c:v>2.5668505908310059E-4</c:v>
                </c:pt>
                <c:pt idx="11">
                  <c:v>5.6092765408439528E-5</c:v>
                </c:pt>
                <c:pt idx="12">
                  <c:v>6.5331489466373249E-8</c:v>
                </c:pt>
              </c:numCache>
            </c:numRef>
          </c:xVal>
          <c:yVal>
            <c:numRef>
              <c:f>Sheet1!$B$2:$B$14</c:f>
              <c:numCache>
                <c:formatCode>General</c:formatCode>
                <c:ptCount val="13"/>
                <c:pt idx="0">
                  <c:v>9.7526998726715511E-2</c:v>
                </c:pt>
                <c:pt idx="1">
                  <c:v>1.186354406616877E-2</c:v>
                </c:pt>
                <c:pt idx="2">
                  <c:v>1.1596118399057029E-2</c:v>
                </c:pt>
                <c:pt idx="3">
                  <c:v>1.1799675370573681E-3</c:v>
                </c:pt>
                <c:pt idx="4">
                  <c:v>1.1748720704383471E-2</c:v>
                </c:pt>
                <c:pt idx="5">
                  <c:v>6.4795441561439279E-4</c:v>
                </c:pt>
                <c:pt idx="6">
                  <c:v>-9.7431069203116755E-4</c:v>
                </c:pt>
                <c:pt idx="7">
                  <c:v>6.4023229044374002E-3</c:v>
                </c:pt>
                <c:pt idx="8">
                  <c:v>2.592035641382928E-3</c:v>
                </c:pt>
                <c:pt idx="9">
                  <c:v>-4.055105616919932E-4</c:v>
                </c:pt>
                <c:pt idx="10">
                  <c:v>1.5875974905397229E-4</c:v>
                </c:pt>
                <c:pt idx="11">
                  <c:v>-3.2468642940663869E-4</c:v>
                </c:pt>
                <c:pt idx="12">
                  <c:v>1.1152300943159529E-7</c:v>
                </c:pt>
              </c:numCache>
            </c:numRef>
          </c:yVal>
          <c:bubbleSize>
            <c:numRef>
              <c:f>Sheet1!$C$2:$C$14</c:f>
              <c:numCache>
                <c:formatCode>General</c:formatCode>
                <c:ptCount val="13"/>
                <c:pt idx="0">
                  <c:v>111360239</c:v>
                </c:pt>
                <c:pt idx="1">
                  <c:v>70217825</c:v>
                </c:pt>
                <c:pt idx="2">
                  <c:v>30468308</c:v>
                </c:pt>
                <c:pt idx="3">
                  <c:v>22557022</c:v>
                </c:pt>
                <c:pt idx="4">
                  <c:v>21233281</c:v>
                </c:pt>
                <c:pt idx="5">
                  <c:v>16396938</c:v>
                </c:pt>
                <c:pt idx="6">
                  <c:v>14007524</c:v>
                </c:pt>
                <c:pt idx="7">
                  <c:v>12208672</c:v>
                </c:pt>
                <c:pt idx="8">
                  <c:v>3196825</c:v>
                </c:pt>
                <c:pt idx="9">
                  <c:v>1794318</c:v>
                </c:pt>
                <c:pt idx="10">
                  <c:v>1583106</c:v>
                </c:pt>
                <c:pt idx="11">
                  <c:v>802773</c:v>
                </c:pt>
                <c:pt idx="12">
                  <c:v>8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1.0924001998750035E-2"/>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4.3821168896729596E-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991DEB11-7C3B-46ED-9A57-316BD5DAA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1FC6642B-83FE-4CBE-BF05-2F49F8866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DA10317F-CD79-4518-BAF3-84C2371327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57810198-2E24-4560-A7FD-1AADBA180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DBAD5935-B829-431E-93E4-A15FF2636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DE711249-6320-414B-B343-8DDD14E8C3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58AA10C0-B6F3-4252-8DA7-5F43BA4880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AFC1ACC4-0DE5-45D8-9516-8C901CDFF0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F071A0CD-3B5B-40F2-9F51-8E909EBE17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5C5109FD-6724-45EB-9B35-DDB0444340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B8B0FA12-31ED-489B-BE18-DAA49B844E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62A62490-6821-4AFD-ACFE-FD5411118A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0089C807-744E-4999-B62F-F5F7393E9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2B3-43D4-BD21-895ACA67225E}"/>
                </c:ext>
              </c:extLst>
            </c:dLbl>
            <c:dLbl>
              <c:idx val="14"/>
              <c:tx>
                <c:rich>
                  <a:bodyPr/>
                  <a:lstStyle/>
                  <a:p>
                    <a:fld id="{19342E79-392A-4FEC-A27F-06740AF8FF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2B3-43D4-BD21-895ACA67225E}"/>
                </c:ext>
              </c:extLst>
            </c:dLbl>
            <c:dLbl>
              <c:idx val="15"/>
              <c:tx>
                <c:rich>
                  <a:bodyPr/>
                  <a:lstStyle/>
                  <a:p>
                    <a:fld id="{2C0E47EC-22BC-4F3A-900C-44316E2BA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2B3-43D4-BD21-895ACA67225E}"/>
                </c:ext>
              </c:extLst>
            </c:dLbl>
            <c:dLbl>
              <c:idx val="16"/>
              <c:tx>
                <c:rich>
                  <a:bodyPr/>
                  <a:lstStyle/>
                  <a:p>
                    <a:fld id="{95520A23-1AEB-4294-B7D2-CD994E06CB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2B3-43D4-BD21-895ACA67225E}"/>
                </c:ext>
              </c:extLst>
            </c:dLbl>
            <c:dLbl>
              <c:idx val="17"/>
              <c:tx>
                <c:rich>
                  <a:bodyPr/>
                  <a:lstStyle/>
                  <a:p>
                    <a:fld id="{C129E61E-1B84-4606-853D-5F89D6D60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2B3-43D4-BD21-895ACA67225E}"/>
                </c:ext>
              </c:extLst>
            </c:dLbl>
            <c:dLbl>
              <c:idx val="18"/>
              <c:tx>
                <c:rich>
                  <a:bodyPr/>
                  <a:lstStyle/>
                  <a:p>
                    <a:fld id="{455D15B1-114E-4367-B09F-F919A2DC64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2B3-43D4-BD21-895ACA67225E}"/>
                </c:ext>
              </c:extLst>
            </c:dLbl>
            <c:dLbl>
              <c:idx val="19"/>
              <c:tx>
                <c:rich>
                  <a:bodyPr/>
                  <a:lstStyle/>
                  <a:p>
                    <a:fld id="{D21E6695-5B4C-4FE1-8307-391EAE442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2B3-43D4-BD21-895ACA67225E}"/>
                </c:ext>
              </c:extLst>
            </c:dLbl>
            <c:dLbl>
              <c:idx val="20"/>
              <c:tx>
                <c:rich>
                  <a:bodyPr/>
                  <a:lstStyle/>
                  <a:p>
                    <a:fld id="{AF041506-3006-4EBB-8251-1D84640CB3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2B3-43D4-BD21-895ACA67225E}"/>
                </c:ext>
              </c:extLst>
            </c:dLbl>
            <c:dLbl>
              <c:idx val="21"/>
              <c:tx>
                <c:rich>
                  <a:bodyPr/>
                  <a:lstStyle/>
                  <a:p>
                    <a:fld id="{8028FEC8-029A-466A-8CB4-DB0F1759C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6A5-42F8-9CB2-D500C2C49522}"/>
                </c:ext>
              </c:extLst>
            </c:dLbl>
            <c:dLbl>
              <c:idx val="22"/>
              <c:tx>
                <c:rich>
                  <a:bodyPr/>
                  <a:lstStyle/>
                  <a:p>
                    <a:fld id="{504DE09C-6C2B-46CB-A677-5CBB0BCFE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6A5-42F8-9CB2-D500C2C49522}"/>
                </c:ext>
              </c:extLst>
            </c:dLbl>
            <c:dLbl>
              <c:idx val="23"/>
              <c:tx>
                <c:rich>
                  <a:bodyPr/>
                  <a:lstStyle/>
                  <a:p>
                    <a:fld id="{736D6104-3467-4D6F-B26D-059901A3E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79-43B7-8A1A-3B973BF29255}"/>
                </c:ext>
              </c:extLst>
            </c:dLbl>
            <c:dLbl>
              <c:idx val="24"/>
              <c:tx>
                <c:rich>
                  <a:bodyPr/>
                  <a:lstStyle/>
                  <a:p>
                    <a:fld id="{BC33D402-A0A9-449C-88AD-38C2057B0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79-43B7-8A1A-3B973BF29255}"/>
                </c:ext>
              </c:extLst>
            </c:dLbl>
            <c:dLbl>
              <c:idx val="25"/>
              <c:tx>
                <c:rich>
                  <a:bodyPr/>
                  <a:lstStyle/>
                  <a:p>
                    <a:fld id="{DAB9129E-94A3-4009-96D8-09D651BA0B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79-43B7-8A1A-3B973BF29255}"/>
                </c:ext>
              </c:extLst>
            </c:dLbl>
            <c:dLbl>
              <c:idx val="26"/>
              <c:tx>
                <c:rich>
                  <a:bodyPr/>
                  <a:lstStyle/>
                  <a:p>
                    <a:fld id="{552C8211-E5E4-4F3A-8679-443F7650D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79-43B7-8A1A-3B973BF29255}"/>
                </c:ext>
              </c:extLst>
            </c:dLbl>
            <c:dLbl>
              <c:idx val="27"/>
              <c:tx>
                <c:rich>
                  <a:bodyPr/>
                  <a:lstStyle/>
                  <a:p>
                    <a:fld id="{4EA75432-FDD5-4E1E-9D20-14582A205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79-43B7-8A1A-3B973BF29255}"/>
                </c:ext>
              </c:extLst>
            </c:dLbl>
            <c:dLbl>
              <c:idx val="28"/>
              <c:tx>
                <c:rich>
                  <a:bodyPr/>
                  <a:lstStyle/>
                  <a:p>
                    <a:fld id="{F7E00D84-46B8-47EE-A2B3-455DDF105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FE79-43B7-8A1A-3B973BF29255}"/>
                </c:ext>
              </c:extLst>
            </c:dLbl>
            <c:dLbl>
              <c:idx val="29"/>
              <c:tx>
                <c:rich>
                  <a:bodyPr/>
                  <a:lstStyle/>
                  <a:p>
                    <a:fld id="{EB3C937B-5932-4294-9F9B-E13BF945D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FE79-43B7-8A1A-3B973BF29255}"/>
                </c:ext>
              </c:extLst>
            </c:dLbl>
            <c:dLbl>
              <c:idx val="30"/>
              <c:tx>
                <c:rich>
                  <a:bodyPr/>
                  <a:lstStyle/>
                  <a:p>
                    <a:fld id="{81B77B7B-CDD9-4469-83F2-8E741F053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FE79-43B7-8A1A-3B973BF29255}"/>
                </c:ext>
              </c:extLst>
            </c:dLbl>
            <c:dLbl>
              <c:idx val="31"/>
              <c:tx>
                <c:rich>
                  <a:bodyPr/>
                  <a:lstStyle/>
                  <a:p>
                    <a:fld id="{B759D9BA-5373-48A6-BB18-3D1DABDD2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E79-43B7-8A1A-3B973BF29255}"/>
                </c:ext>
              </c:extLst>
            </c:dLbl>
            <c:dLbl>
              <c:idx val="32"/>
              <c:tx>
                <c:rich>
                  <a:bodyPr/>
                  <a:lstStyle/>
                  <a:p>
                    <a:fld id="{1B25DAD0-88AA-4A5F-BDB9-B2874C660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5</c:f>
              <c:numCache>
                <c:formatCode>General</c:formatCode>
                <c:ptCount val="14"/>
                <c:pt idx="0">
                  <c:v>7.1102224968808192E-2</c:v>
                </c:pt>
                <c:pt idx="1">
                  <c:v>-4.4165419627213903E-2</c:v>
                </c:pt>
                <c:pt idx="2">
                  <c:v>1.3376906263416441E-2</c:v>
                </c:pt>
                <c:pt idx="3">
                  <c:v>-2.0459226363297389E-2</c:v>
                </c:pt>
                <c:pt idx="4">
                  <c:v>7.2571715077108176E-3</c:v>
                </c:pt>
                <c:pt idx="5">
                  <c:v>-3.8171537403884452E-3</c:v>
                </c:pt>
                <c:pt idx="6">
                  <c:v>-9.7402681750874825E-3</c:v>
                </c:pt>
                <c:pt idx="7">
                  <c:v>5.1061288556708594E-3</c:v>
                </c:pt>
                <c:pt idx="8">
                  <c:v>3.8522945690199332E-3</c:v>
                </c:pt>
                <c:pt idx="9">
                  <c:v>2.2010952796646562E-3</c:v>
                </c:pt>
                <c:pt idx="10">
                  <c:v>3.8906493753478651E-4</c:v>
                </c:pt>
                <c:pt idx="11">
                  <c:v>-5.3875553465321702E-4</c:v>
                </c:pt>
                <c:pt idx="12">
                  <c:v>-1.137027018073962E-4</c:v>
                </c:pt>
                <c:pt idx="13">
                  <c:v>8.0520681475904727E-7</c:v>
                </c:pt>
              </c:numCache>
            </c:numRef>
          </c:xVal>
          <c:yVal>
            <c:numRef>
              <c:f>Sheet1!$B$2:$B$15</c:f>
              <c:numCache>
                <c:formatCode>General</c:formatCode>
                <c:ptCount val="14"/>
                <c:pt idx="0">
                  <c:v>0.1521662794731953</c:v>
                </c:pt>
                <c:pt idx="1">
                  <c:v>-0.10186886344416519</c:v>
                </c:pt>
                <c:pt idx="2">
                  <c:v>3.7003438229694888E-2</c:v>
                </c:pt>
                <c:pt idx="3">
                  <c:v>-4.9659537484007837E-2</c:v>
                </c:pt>
                <c:pt idx="4">
                  <c:v>1.485100109630651E-2</c:v>
                </c:pt>
                <c:pt idx="5">
                  <c:v>-8.7035875068246192E-3</c:v>
                </c:pt>
                <c:pt idx="6">
                  <c:v>-2.257255296662437E-2</c:v>
                </c:pt>
                <c:pt idx="7">
                  <c:v>1.0090594673826579E-2</c:v>
                </c:pt>
                <c:pt idx="8">
                  <c:v>7.6415421740337816E-3</c:v>
                </c:pt>
                <c:pt idx="9">
                  <c:v>4.024102489368785E-3</c:v>
                </c:pt>
                <c:pt idx="10">
                  <c:v>1.092907808199955E-3</c:v>
                </c:pt>
                <c:pt idx="11">
                  <c:v>-1.3350137779273531E-3</c:v>
                </c:pt>
                <c:pt idx="12">
                  <c:v>-3.3073070292566348E-4</c:v>
                </c:pt>
                <c:pt idx="13">
                  <c:v>2.5602642118127499E-6</c:v>
                </c:pt>
              </c:numCache>
            </c:numRef>
          </c:yVal>
          <c:bubbleSize>
            <c:numRef>
              <c:f>Sheet1!$C$2:$C$15</c:f>
              <c:numCache>
                <c:formatCode>General</c:formatCode>
                <c:ptCount val="14"/>
                <c:pt idx="0">
                  <c:v>1760863092</c:v>
                </c:pt>
                <c:pt idx="1">
                  <c:v>724122351</c:v>
                </c:pt>
                <c:pt idx="2">
                  <c:v>382643134</c:v>
                </c:pt>
                <c:pt idx="3">
                  <c:v>314999983</c:v>
                </c:pt>
                <c:pt idx="4">
                  <c:v>230947562</c:v>
                </c:pt>
                <c:pt idx="5">
                  <c:v>229527876</c:v>
                </c:pt>
                <c:pt idx="6">
                  <c:v>187427544</c:v>
                </c:pt>
                <c:pt idx="7">
                  <c:v>143118988</c:v>
                </c:pt>
                <c:pt idx="8">
                  <c:v>115028964</c:v>
                </c:pt>
                <c:pt idx="9">
                  <c:v>81763679</c:v>
                </c:pt>
                <c:pt idx="10">
                  <c:v>18356742</c:v>
                </c:pt>
                <c:pt idx="11">
                  <c:v>5901619</c:v>
                </c:pt>
                <c:pt idx="12">
                  <c:v>2592713</c:v>
                </c:pt>
                <c:pt idx="13">
                  <c:v>257559</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3.0287243090258973E-3"/>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1.7465118175851867E-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C76CE444-865C-4107-8F68-2ACB04823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BC4F8C43-E82B-4123-89C9-B0BB56053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836839FE-D48B-45F7-80C0-F8C543B410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37F9DA12-2F7C-4CF7-A5CB-DBA2C3DCE8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BF0B9D4B-B798-4857-A1CA-BB0D32117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0A0FEB9E-A77E-4CD1-B794-13004BA9D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BC92E938-6D66-468E-8F59-C84C710CC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E3C97889-899E-4648-BA83-50BCFB171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01E901F9-1FAB-4B35-AF44-E20289359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041F764F-F923-489A-AEB0-2FAFC2660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DDA5556B-4EF9-4C41-8223-AA7A077DE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0C28C418-5D40-48C5-9A32-361BFB896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33064E0D-32B2-4CCC-AD73-1EC519380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CCC88058-660D-4D51-8002-9097FC4BD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r>
                      <a:t>1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2B3-43D4-BD21-895ACA67225E}"/>
                </c:ext>
              </c:extLst>
            </c:dLbl>
            <c:dLbl>
              <c:idx val="15"/>
              <c:tx>
                <c:rich>
                  <a:bodyPr/>
                  <a:lstStyle/>
                  <a:p>
                    <a:fld id="{DBFBC99C-7277-4C17-B491-F3A932388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2B3-43D4-BD21-895ACA67225E}"/>
                </c:ext>
              </c:extLst>
            </c:dLbl>
            <c:dLbl>
              <c:idx val="16"/>
              <c:tx>
                <c:rich>
                  <a:bodyPr/>
                  <a:lstStyle/>
                  <a:p>
                    <a:fld id="{04D98D93-8F7A-4CBF-BB2D-41058BCE3A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2B3-43D4-BD21-895ACA67225E}"/>
                </c:ext>
              </c:extLst>
            </c:dLbl>
            <c:dLbl>
              <c:idx val="17"/>
              <c:tx>
                <c:rich>
                  <a:bodyPr/>
                  <a:lstStyle/>
                  <a:p>
                    <a:fld id="{A81630AF-78C6-4B73-9F9A-99A5F9BA4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2B3-43D4-BD21-895ACA67225E}"/>
                </c:ext>
              </c:extLst>
            </c:dLbl>
            <c:dLbl>
              <c:idx val="18"/>
              <c:tx>
                <c:rich>
                  <a:bodyPr/>
                  <a:lstStyle/>
                  <a:p>
                    <a:fld id="{ACF303DE-D66A-43DB-B73F-49FE4C626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2B3-43D4-BD21-895ACA67225E}"/>
                </c:ext>
              </c:extLst>
            </c:dLbl>
            <c:dLbl>
              <c:idx val="19"/>
              <c:tx>
                <c:rich>
                  <a:bodyPr/>
                  <a:lstStyle/>
                  <a:p>
                    <a:fld id="{F4CD0551-C117-4FB8-8D8B-077D37282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2B3-43D4-BD21-895ACA67225E}"/>
                </c:ext>
              </c:extLst>
            </c:dLbl>
            <c:dLbl>
              <c:idx val="20"/>
              <c:tx>
                <c:rich>
                  <a:bodyPr/>
                  <a:lstStyle/>
                  <a:p>
                    <a:fld id="{0E3617AE-5AB6-412E-9C61-47E7C96AA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2B3-43D4-BD21-895ACA67225E}"/>
                </c:ext>
              </c:extLst>
            </c:dLbl>
            <c:dLbl>
              <c:idx val="21"/>
              <c:tx>
                <c:rich>
                  <a:bodyPr/>
                  <a:lstStyle/>
                  <a:p>
                    <a:fld id="{92132A5C-8B2D-45C1-95E0-DFDC0A139D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6A5-42F8-9CB2-D500C2C49522}"/>
                </c:ext>
              </c:extLst>
            </c:dLbl>
            <c:dLbl>
              <c:idx val="22"/>
              <c:tx>
                <c:rich>
                  <a:bodyPr/>
                  <a:lstStyle/>
                  <a:p>
                    <a:fld id="{81514D1F-A6DC-41DE-B10B-A9CD8C9DD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6A5-42F8-9CB2-D500C2C49522}"/>
                </c:ext>
              </c:extLst>
            </c:dLbl>
            <c:dLbl>
              <c:idx val="23"/>
              <c:tx>
                <c:rich>
                  <a:bodyPr/>
                  <a:lstStyle/>
                  <a:p>
                    <a:fld id="{28A1562F-9DF0-4FC8-B8B0-A703CA1278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79-43B7-8A1A-3B973BF29255}"/>
                </c:ext>
              </c:extLst>
            </c:dLbl>
            <c:dLbl>
              <c:idx val="24"/>
              <c:tx>
                <c:rich>
                  <a:bodyPr/>
                  <a:lstStyle/>
                  <a:p>
                    <a:fld id="{85A98CCE-C50D-4EA9-9BB0-40997D08A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79-43B7-8A1A-3B973BF29255}"/>
                </c:ext>
              </c:extLst>
            </c:dLbl>
            <c:dLbl>
              <c:idx val="25"/>
              <c:tx>
                <c:rich>
                  <a:bodyPr/>
                  <a:lstStyle/>
                  <a:p>
                    <a:fld id="{69C9A8ED-2B68-415C-B6EF-670208920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79-43B7-8A1A-3B973BF29255}"/>
                </c:ext>
              </c:extLst>
            </c:dLbl>
            <c:dLbl>
              <c:idx val="26"/>
              <c:tx>
                <c:rich>
                  <a:bodyPr/>
                  <a:lstStyle/>
                  <a:p>
                    <a:fld id="{637A9BEC-B031-4FD0-AF80-ABA00D94CB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79-43B7-8A1A-3B973BF29255}"/>
                </c:ext>
              </c:extLst>
            </c:dLbl>
            <c:dLbl>
              <c:idx val="27"/>
              <c:tx>
                <c:rich>
                  <a:bodyPr/>
                  <a:lstStyle/>
                  <a:p>
                    <a:fld id="{7CC6C3A3-8D3C-4A26-8DCB-FF458A1A3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79-43B7-8A1A-3B973BF29255}"/>
                </c:ext>
              </c:extLst>
            </c:dLbl>
            <c:dLbl>
              <c:idx val="28"/>
              <c:tx>
                <c:rich>
                  <a:bodyPr/>
                  <a:lstStyle/>
                  <a:p>
                    <a:fld id="{85F51F93-731E-48D2-B27E-C3B1EFF790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FE79-43B7-8A1A-3B973BF29255}"/>
                </c:ext>
              </c:extLst>
            </c:dLbl>
            <c:dLbl>
              <c:idx val="29"/>
              <c:tx>
                <c:rich>
                  <a:bodyPr/>
                  <a:lstStyle/>
                  <a:p>
                    <a:fld id="{3522EE11-52E7-4C87-A131-7BCCA18DD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FE79-43B7-8A1A-3B973BF29255}"/>
                </c:ext>
              </c:extLst>
            </c:dLbl>
            <c:dLbl>
              <c:idx val="30"/>
              <c:tx>
                <c:rich>
                  <a:bodyPr/>
                  <a:lstStyle/>
                  <a:p>
                    <a:fld id="{AAE36A45-74CD-40F0-9B7B-52114F360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FE79-43B7-8A1A-3B973BF29255}"/>
                </c:ext>
              </c:extLst>
            </c:dLbl>
            <c:dLbl>
              <c:idx val="31"/>
              <c:tx>
                <c:rich>
                  <a:bodyPr/>
                  <a:lstStyle/>
                  <a:p>
                    <a:fld id="{963CD677-F100-42F9-9B3D-34D02D798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E79-43B7-8A1A-3B973BF29255}"/>
                </c:ext>
              </c:extLst>
            </c:dLbl>
            <c:dLbl>
              <c:idx val="32"/>
              <c:tx>
                <c:rich>
                  <a:bodyPr/>
                  <a:lstStyle/>
                  <a:p>
                    <a:fld id="{9AA5799E-CA2F-4C18-BB0C-3BD5BD440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7.1550772635502302E-2</c:v>
                </c:pt>
                <c:pt idx="1">
                  <c:v>-5.6095346917576387E-2</c:v>
                </c:pt>
                <c:pt idx="2">
                  <c:v>2.063012029057041E-2</c:v>
                </c:pt>
                <c:pt idx="3">
                  <c:v>8.4612162085671572E-3</c:v>
                </c:pt>
                <c:pt idx="4">
                  <c:v>-2.167617228748208E-2</c:v>
                </c:pt>
                <c:pt idx="5">
                  <c:v>7.4339942468693437E-3</c:v>
                </c:pt>
                <c:pt idx="6">
                  <c:v>-5.4271059910794136E-3</c:v>
                </c:pt>
                <c:pt idx="7">
                  <c:v>6.7495312127330669E-3</c:v>
                </c:pt>
                <c:pt idx="8">
                  <c:v>-1.079711857737964E-2</c:v>
                </c:pt>
                <c:pt idx="9">
                  <c:v>5.3571050888204987E-3</c:v>
                </c:pt>
                <c:pt idx="10">
                  <c:v>3.9070312970408876E-3</c:v>
                </c:pt>
                <c:pt idx="11">
                  <c:v>1.0154464127368739E-3</c:v>
                </c:pt>
                <c:pt idx="12">
                  <c:v>-1.3612224748639911E-3</c:v>
                </c:pt>
                <c:pt idx="13">
                  <c:v>-1.2684310965709411E-4</c:v>
                </c:pt>
                <c:pt idx="14">
                  <c:v>2.8274328580963101E-5</c:v>
                </c:pt>
              </c:numCache>
            </c:numRef>
          </c:xVal>
          <c:yVal>
            <c:numRef>
              <c:f>Sheet1!$B$2:$B$16</c:f>
              <c:numCache>
                <c:formatCode>General</c:formatCode>
                <c:ptCount val="15"/>
                <c:pt idx="0">
                  <c:v>0.1648877456662762</c:v>
                </c:pt>
                <c:pt idx="1">
                  <c:v>0</c:v>
                </c:pt>
                <c:pt idx="2">
                  <c:v>5.7770049239154422E-2</c:v>
                </c:pt>
                <c:pt idx="3">
                  <c:v>1.6700730139272878E-2</c:v>
                </c:pt>
                <c:pt idx="4">
                  <c:v>0</c:v>
                </c:pt>
                <c:pt idx="5">
                  <c:v>1.5892647017208671E-2</c:v>
                </c:pt>
                <c:pt idx="6">
                  <c:v>0</c:v>
                </c:pt>
                <c:pt idx="7">
                  <c:v>1.1596229922066459E-2</c:v>
                </c:pt>
                <c:pt idx="8">
                  <c:v>0</c:v>
                </c:pt>
                <c:pt idx="9">
                  <c:v>1.1907480453437451E-2</c:v>
                </c:pt>
                <c:pt idx="10">
                  <c:v>8.9943585458203273E-3</c:v>
                </c:pt>
                <c:pt idx="11">
                  <c:v>2.271893834861058E-3</c:v>
                </c:pt>
                <c:pt idx="12">
                  <c:v>0</c:v>
                </c:pt>
                <c:pt idx="13">
                  <c:v>0</c:v>
                </c:pt>
                <c:pt idx="14">
                  <c:v>1.075537668115102E-4</c:v>
                </c:pt>
              </c:numCache>
            </c:numRef>
          </c:yVal>
          <c:bubbleSize>
            <c:numRef>
              <c:f>Sheet1!$C$2:$C$16</c:f>
              <c:numCache>
                <c:formatCode>General</c:formatCode>
                <c:ptCount val="15"/>
                <c:pt idx="0">
                  <c:v>263392264</c:v>
                </c:pt>
                <c:pt idx="1">
                  <c:v>95421553</c:v>
                </c:pt>
                <c:pt idx="2">
                  <c:v>77691485</c:v>
                </c:pt>
                <c:pt idx="3">
                  <c:v>39509333</c:v>
                </c:pt>
                <c:pt idx="4">
                  <c:v>36944343</c:v>
                </c:pt>
                <c:pt idx="5">
                  <c:v>34407631</c:v>
                </c:pt>
                <c:pt idx="6">
                  <c:v>32172379</c:v>
                </c:pt>
                <c:pt idx="7">
                  <c:v>30468388</c:v>
                </c:pt>
                <c:pt idx="8">
                  <c:v>25093405</c:v>
                </c:pt>
                <c:pt idx="9">
                  <c:v>22816387</c:v>
                </c:pt>
                <c:pt idx="10">
                  <c:v>15405497</c:v>
                </c:pt>
                <c:pt idx="11">
                  <c:v>3679581</c:v>
                </c:pt>
                <c:pt idx="12">
                  <c:v>1665377</c:v>
                </c:pt>
                <c:pt idx="13">
                  <c:v>381075</c:v>
                </c:pt>
                <c:pt idx="14">
                  <c:v>114877</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1.9341912572327258E-2"/>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1.9766454908921927E-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69333087466365151</c:v>
                </c:pt>
                <c:pt idx="1">
                  <c:v>0.20235702310098097</c:v>
                </c:pt>
                <c:pt idx="2">
                  <c:v>4.9042210667553085E-2</c:v>
                </c:pt>
                <c:pt idx="3">
                  <c:v>2.4270660710862871E-2</c:v>
                </c:pt>
                <c:pt idx="4">
                  <c:v>3.0999230856951523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D9922020-794D-444E-AAFC-B119DD266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A9D760E2-B442-4534-B2CF-A616D8E249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D54CB53B-B844-44E3-B560-FA1857181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5ED5481D-CFEC-44B1-AFA1-71671607A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5D932360-8E8A-4904-B3FC-6C16C0513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5F7F81A5-2C21-46E1-BC43-DD4E33AA5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DC8A1421-DCD2-4D1C-AD87-E1E3A6EB6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586CD25B-C432-4B5D-BF8F-EA18BBECB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DB659545-6179-472B-912C-3EBAB1480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76C80C45-6115-4910-84C4-35DD8C315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62ED4E85-70A8-49B8-BCF5-6F136BD82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AA836534-9DEC-4A5F-BA8C-215D236745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2B3-43D4-BD21-895ACA67225E}"/>
                </c:ext>
              </c:extLst>
            </c:dLbl>
            <c:dLbl>
              <c:idx val="13"/>
              <c:tx>
                <c:rich>
                  <a:bodyPr/>
                  <a:lstStyle/>
                  <a:p>
                    <a:fld id="{9A145AF0-9B41-44C9-9907-EB51C28EAE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2B3-43D4-BD21-895ACA67225E}"/>
                </c:ext>
              </c:extLst>
            </c:dLbl>
            <c:dLbl>
              <c:idx val="14"/>
              <c:tx>
                <c:rich>
                  <a:bodyPr/>
                  <a:lstStyle/>
                  <a:p>
                    <a:fld id="{E4746632-DFA4-4A2D-9B38-89F035ACC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2B3-43D4-BD21-895ACA67225E}"/>
                </c:ext>
              </c:extLst>
            </c:dLbl>
            <c:dLbl>
              <c:idx val="15"/>
              <c:tx>
                <c:rich>
                  <a:bodyPr/>
                  <a:lstStyle/>
                  <a:p>
                    <a:fld id="{48135569-C307-4725-8F33-140C1F138B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2B3-43D4-BD21-895ACA67225E}"/>
                </c:ext>
              </c:extLst>
            </c:dLbl>
            <c:dLbl>
              <c:idx val="16"/>
              <c:tx>
                <c:rich>
                  <a:bodyPr/>
                  <a:lstStyle/>
                  <a:p>
                    <a:fld id="{A88CABC7-29B9-45E5-BF20-4792733BA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2B3-43D4-BD21-895ACA67225E}"/>
                </c:ext>
              </c:extLst>
            </c:dLbl>
            <c:dLbl>
              <c:idx val="17"/>
              <c:tx>
                <c:rich>
                  <a:bodyPr/>
                  <a:lstStyle/>
                  <a:p>
                    <a:fld id="{5E186009-B32D-4A88-BEA3-C29A308A72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2B3-43D4-BD21-895ACA67225E}"/>
                </c:ext>
              </c:extLst>
            </c:dLbl>
            <c:dLbl>
              <c:idx val="18"/>
              <c:tx>
                <c:rich>
                  <a:bodyPr/>
                  <a:lstStyle/>
                  <a:p>
                    <a:fld id="{24EE8FA5-A59C-418E-8E88-EF2714804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2B3-43D4-BD21-895ACA67225E}"/>
                </c:ext>
              </c:extLst>
            </c:dLbl>
            <c:dLbl>
              <c:idx val="19"/>
              <c:tx>
                <c:rich>
                  <a:bodyPr/>
                  <a:lstStyle/>
                  <a:p>
                    <a:fld id="{5BDA8D9B-92DD-47A6-8AE4-FE0E2DADE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2B3-43D4-BD21-895ACA67225E}"/>
                </c:ext>
              </c:extLst>
            </c:dLbl>
            <c:dLbl>
              <c:idx val="20"/>
              <c:tx>
                <c:rich>
                  <a:bodyPr/>
                  <a:lstStyle/>
                  <a:p>
                    <a:fld id="{9E483236-4A53-4C0A-8259-92770F351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2B3-43D4-BD21-895ACA67225E}"/>
                </c:ext>
              </c:extLst>
            </c:dLbl>
            <c:dLbl>
              <c:idx val="21"/>
              <c:tx>
                <c:rich>
                  <a:bodyPr/>
                  <a:lstStyle/>
                  <a:p>
                    <a:fld id="{7606C719-5CAE-4C09-B3A1-0E6C9CD1A8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6A5-42F8-9CB2-D500C2C49522}"/>
                </c:ext>
              </c:extLst>
            </c:dLbl>
            <c:dLbl>
              <c:idx val="22"/>
              <c:tx>
                <c:rich>
                  <a:bodyPr/>
                  <a:lstStyle/>
                  <a:p>
                    <a:fld id="{E62993AC-A9B1-4684-BE48-D77B94E36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6A5-42F8-9CB2-D500C2C49522}"/>
                </c:ext>
              </c:extLst>
            </c:dLbl>
            <c:dLbl>
              <c:idx val="23"/>
              <c:tx>
                <c:rich>
                  <a:bodyPr/>
                  <a:lstStyle/>
                  <a:p>
                    <a:fld id="{21B071B8-FF69-4F55-9925-7C38A05FA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79-43B7-8A1A-3B973BF29255}"/>
                </c:ext>
              </c:extLst>
            </c:dLbl>
            <c:dLbl>
              <c:idx val="24"/>
              <c:tx>
                <c:rich>
                  <a:bodyPr/>
                  <a:lstStyle/>
                  <a:p>
                    <a:fld id="{51D96E22-8A09-4629-9034-107DE4F4C7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79-43B7-8A1A-3B973BF29255}"/>
                </c:ext>
              </c:extLst>
            </c:dLbl>
            <c:dLbl>
              <c:idx val="25"/>
              <c:tx>
                <c:rich>
                  <a:bodyPr/>
                  <a:lstStyle/>
                  <a:p>
                    <a:fld id="{DAF50E5C-B8F8-4CA3-B4AE-26FFEF6E71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79-43B7-8A1A-3B973BF29255}"/>
                </c:ext>
              </c:extLst>
            </c:dLbl>
            <c:dLbl>
              <c:idx val="26"/>
              <c:tx>
                <c:rich>
                  <a:bodyPr/>
                  <a:lstStyle/>
                  <a:p>
                    <a:fld id="{0374DF39-CBBB-44AA-BB70-F19FA584E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79-43B7-8A1A-3B973BF29255}"/>
                </c:ext>
              </c:extLst>
            </c:dLbl>
            <c:dLbl>
              <c:idx val="27"/>
              <c:tx>
                <c:rich>
                  <a:bodyPr/>
                  <a:lstStyle/>
                  <a:p>
                    <a:fld id="{A9B4DEA7-823B-4B01-BF38-95133A7690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79-43B7-8A1A-3B973BF29255}"/>
                </c:ext>
              </c:extLst>
            </c:dLbl>
            <c:dLbl>
              <c:idx val="28"/>
              <c:tx>
                <c:rich>
                  <a:bodyPr/>
                  <a:lstStyle/>
                  <a:p>
                    <a:fld id="{8ED3203E-164A-4611-AC54-2A99D7F09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FE79-43B7-8A1A-3B973BF29255}"/>
                </c:ext>
              </c:extLst>
            </c:dLbl>
            <c:dLbl>
              <c:idx val="29"/>
              <c:tx>
                <c:rich>
                  <a:bodyPr/>
                  <a:lstStyle/>
                  <a:p>
                    <a:fld id="{1B878226-E508-49F4-B40B-2EE62E6CA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FE79-43B7-8A1A-3B973BF29255}"/>
                </c:ext>
              </c:extLst>
            </c:dLbl>
            <c:dLbl>
              <c:idx val="30"/>
              <c:tx>
                <c:rich>
                  <a:bodyPr/>
                  <a:lstStyle/>
                  <a:p>
                    <a:fld id="{73F0A17C-DCF7-46F4-B8CC-C62C2C056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FE79-43B7-8A1A-3B973BF29255}"/>
                </c:ext>
              </c:extLst>
            </c:dLbl>
            <c:dLbl>
              <c:idx val="31"/>
              <c:tx>
                <c:rich>
                  <a:bodyPr/>
                  <a:lstStyle/>
                  <a:p>
                    <a:fld id="{969AE7A1-59F2-4CE3-8EBF-28066A6C9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E79-43B7-8A1A-3B973BF29255}"/>
                </c:ext>
              </c:extLst>
            </c:dLbl>
            <c:dLbl>
              <c:idx val="32"/>
              <c:tx>
                <c:rich>
                  <a:bodyPr/>
                  <a:lstStyle/>
                  <a:p>
                    <a:fld id="{8F2ABDA1-57A8-4A55-8277-FF064D87D8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4</c:f>
              <c:numCache>
                <c:formatCode>General</c:formatCode>
                <c:ptCount val="13"/>
                <c:pt idx="0">
                  <c:v>1.0524540427383211E-3</c:v>
                </c:pt>
                <c:pt idx="1">
                  <c:v>-1.273710979365628E-3</c:v>
                </c:pt>
                <c:pt idx="2">
                  <c:v>1.0393207131138139E-4</c:v>
                </c:pt>
                <c:pt idx="3">
                  <c:v>-1.874104139265378E-3</c:v>
                </c:pt>
                <c:pt idx="4">
                  <c:v>-1.2909688087393569E-3</c:v>
                </c:pt>
                <c:pt idx="5">
                  <c:v>-1.9738643607641529E-4</c:v>
                </c:pt>
                <c:pt idx="6">
                  <c:v>2.2426526880537229E-3</c:v>
                </c:pt>
                <c:pt idx="7">
                  <c:v>1.328842220871259E-3</c:v>
                </c:pt>
                <c:pt idx="8">
                  <c:v>7.1352677594212557E-4</c:v>
                </c:pt>
                <c:pt idx="9">
                  <c:v>3.2609549361253132E-4</c:v>
                </c:pt>
                <c:pt idx="10">
                  <c:v>-3.8854137762722512E-4</c:v>
                </c:pt>
                <c:pt idx="11">
                  <c:v>1.72090071059621E-5</c:v>
                </c:pt>
                <c:pt idx="12">
                  <c:v>-5.0840385898200399E-5</c:v>
                </c:pt>
              </c:numCache>
            </c:numRef>
          </c:xVal>
          <c:yVal>
            <c:numRef>
              <c:f>Sheet1!$B$2:$B$14</c:f>
              <c:numCache>
                <c:formatCode>General</c:formatCode>
                <c:ptCount val="13"/>
                <c:pt idx="0">
                  <c:v>3.3167239334460359E-3</c:v>
                </c:pt>
                <c:pt idx="1">
                  <c:v>-1.097072878392745E-2</c:v>
                </c:pt>
                <c:pt idx="2">
                  <c:v>4.4391775261152372E-4</c:v>
                </c:pt>
                <c:pt idx="3">
                  <c:v>-4.1719080639664383E-3</c:v>
                </c:pt>
                <c:pt idx="4">
                  <c:v>-2.3899989113840749E-3</c:v>
                </c:pt>
                <c:pt idx="5">
                  <c:v>-3.9173640626887461E-3</c:v>
                </c:pt>
                <c:pt idx="6">
                  <c:v>2.280277117844461E-3</c:v>
                </c:pt>
                <c:pt idx="7">
                  <c:v>1.1799675370573681E-3</c:v>
                </c:pt>
                <c:pt idx="8">
                  <c:v>3.232679862077547E-4</c:v>
                </c:pt>
                <c:pt idx="9">
                  <c:v>-1.3798212537231599E-3</c:v>
                </c:pt>
                <c:pt idx="10">
                  <c:v>-4.5742912552094311E-6</c:v>
                </c:pt>
                <c:pt idx="11">
                  <c:v>3.5779116803290449E-6</c:v>
                </c:pt>
                <c:pt idx="12">
                  <c:v>-5.9489305440502034E-6</c:v>
                </c:pt>
              </c:numCache>
            </c:numRef>
          </c:yVal>
          <c:bubbleSize>
            <c:numRef>
              <c:f>Sheet1!$C$2:$C$14</c:f>
              <c:numCache>
                <c:formatCode>General</c:formatCode>
                <c:ptCount val="13"/>
                <c:pt idx="0">
                  <c:v>189926117</c:v>
                </c:pt>
                <c:pt idx="1">
                  <c:v>187555992</c:v>
                </c:pt>
                <c:pt idx="2">
                  <c:v>77981297</c:v>
                </c:pt>
                <c:pt idx="3">
                  <c:v>51047252</c:v>
                </c:pt>
                <c:pt idx="4">
                  <c:v>42820288</c:v>
                </c:pt>
                <c:pt idx="5">
                  <c:v>39277810</c:v>
                </c:pt>
                <c:pt idx="6">
                  <c:v>34256188</c:v>
                </c:pt>
                <c:pt idx="7">
                  <c:v>22557022</c:v>
                </c:pt>
                <c:pt idx="8">
                  <c:v>17199711</c:v>
                </c:pt>
                <c:pt idx="9">
                  <c:v>15801842</c:v>
                </c:pt>
                <c:pt idx="10">
                  <c:v>4275865</c:v>
                </c:pt>
                <c:pt idx="11">
                  <c:v>708899</c:v>
                </c:pt>
                <c:pt idx="12">
                  <c:v>1055</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1.1763547737416659E-3"/>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5.4550782512546139E-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6</c:f>
              <c:numCache>
                <c:formatCode>General</c:formatCode>
                <c:ptCount val="5"/>
                <c:pt idx="0">
                  <c:v>1.195602998100509E-2</c:v>
                </c:pt>
                <c:pt idx="1">
                  <c:v>-1.3427713175870631E-2</c:v>
                </c:pt>
                <c:pt idx="2">
                  <c:v>3.1307649391293865E-3</c:v>
                </c:pt>
                <c:pt idx="3">
                  <c:v>-5.1660951183134414E-3</c:v>
                </c:pt>
                <c:pt idx="4">
                  <c:v>3.5070133740495511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932997692570855</c:v>
                </c:pt>
                <c:pt idx="1">
                  <c:v>0.16429710758540036</c:v>
                </c:pt>
                <c:pt idx="2">
                  <c:v>0.10003110540656611</c:v>
                </c:pt>
                <c:pt idx="3">
                  <c:v>4.9042210667553085E-2</c:v>
                </c:pt>
                <c:pt idx="4">
                  <c:v>3.3917121803628318E-2</c:v>
                </c:pt>
                <c:pt idx="5">
                  <c:v>1.2450800321244605E-2</c:v>
                </c:pt>
                <c:pt idx="6">
                  <c:v>1.1819860389618268E-2</c:v>
                </c:pt>
                <c:pt idx="7">
                  <c:v>3.514202456890381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6</c:f>
              <c:numCache>
                <c:formatCode>General</c:formatCode>
                <c:ptCount val="5"/>
                <c:pt idx="0">
                  <c:v>1.3479003161866121E-2</c:v>
                </c:pt>
                <c:pt idx="1">
                  <c:v>-1.0871280991876175E-2</c:v>
                </c:pt>
                <c:pt idx="2">
                  <c:v>-1.3642223136867512E-2</c:v>
                </c:pt>
                <c:pt idx="3">
                  <c:v>7.8572926708345044E-3</c:v>
                </c:pt>
                <c:pt idx="4">
                  <c:v>3.1772082960429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9</c:f>
              <c:numCache>
                <c:formatCode>General</c:formatCode>
                <c:ptCount val="8"/>
                <c:pt idx="0">
                  <c:v>-7.9161622813287813E-2</c:v>
                </c:pt>
                <c:pt idx="1">
                  <c:v>4.2900199493151742E-2</c:v>
                </c:pt>
                <c:pt idx="2">
                  <c:v>-9.7071110946539974E-3</c:v>
                </c:pt>
                <c:pt idx="3">
                  <c:v>3.579885758328373E-2</c:v>
                </c:pt>
                <c:pt idx="4">
                  <c:v>7.314027925520019E-3</c:v>
                </c:pt>
                <c:pt idx="5">
                  <c:v>9.3122678677734771E-3</c:v>
                </c:pt>
                <c:pt idx="6">
                  <c:v>8.3216046623637539E-3</c:v>
                </c:pt>
                <c:pt idx="7">
                  <c:v>-1.477822362415095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9</c:f>
              <c:numCache>
                <c:formatCode>General</c:formatCode>
                <c:ptCount val="8"/>
                <c:pt idx="0">
                  <c:v>1.2534079846822976E-2</c:v>
                </c:pt>
                <c:pt idx="1">
                  <c:v>-1.5809296285546587E-2</c:v>
                </c:pt>
                <c:pt idx="2">
                  <c:v>9.4492331504326954E-4</c:v>
                </c:pt>
                <c:pt idx="3">
                  <c:v>-1.3642223136867512E-2</c:v>
                </c:pt>
                <c:pt idx="4">
                  <c:v>7.9522158171812379E-4</c:v>
                </c:pt>
                <c:pt idx="5">
                  <c:v>-3.9625677187837618E-3</c:v>
                </c:pt>
                <c:pt idx="6">
                  <c:v>1.1819860389618268E-2</c:v>
                </c:pt>
                <c:pt idx="7">
                  <c:v>7.3200020079952684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69377068214919968</c:v>
                </c:pt>
                <c:pt idx="1">
                  <c:v>0.22447017612998366</c:v>
                </c:pt>
                <c:pt idx="2">
                  <c:v>7.3483636802119862E-2</c:v>
                </c:pt>
                <c:pt idx="3">
                  <c:v>8.2755049186968369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5</c:f>
              <c:numCache>
                <c:formatCode>General</c:formatCode>
                <c:ptCount val="4"/>
                <c:pt idx="0">
                  <c:v>2.0612273594695973E-2</c:v>
                </c:pt>
                <c:pt idx="1">
                  <c:v>-2.7876643612773616E-2</c:v>
                </c:pt>
                <c:pt idx="2">
                  <c:v>7.6885765985184248E-3</c:v>
                </c:pt>
                <c:pt idx="3">
                  <c:v>2.082306241973662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57617584110359765</c:v>
                </c:pt>
                <c:pt idx="1">
                  <c:v>0.14372580791832781</c:v>
                </c:pt>
                <c:pt idx="2">
                  <c:v>0.11759484104560203</c:v>
                </c:pt>
                <c:pt idx="3">
                  <c:v>8.0744368211655843E-2</c:v>
                </c:pt>
                <c:pt idx="4">
                  <c:v>7.3483636802119862E-2</c:v>
                </c:pt>
                <c:pt idx="5">
                  <c:v>8.2755049186968369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5</c:f>
              <c:numCache>
                <c:formatCode>General</c:formatCode>
                <c:ptCount val="4"/>
                <c:pt idx="0">
                  <c:v>-6.5834408740160777E-2</c:v>
                </c:pt>
                <c:pt idx="1">
                  <c:v>5.8561437150990575E-2</c:v>
                </c:pt>
                <c:pt idx="2">
                  <c:v>1.7136362695813756E-3</c:v>
                </c:pt>
                <c:pt idx="3">
                  <c:v>5.5593353195889112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7</c:f>
              <c:numCache>
                <c:formatCode>General</c:formatCode>
                <c:ptCount val="6"/>
                <c:pt idx="0">
                  <c:v>-6.2578737806382012E-2</c:v>
                </c:pt>
                <c:pt idx="1">
                  <c:v>5.1657270995826454E-2</c:v>
                </c:pt>
                <c:pt idx="2">
                  <c:v>-3.2556709337787926E-3</c:v>
                </c:pt>
                <c:pt idx="3">
                  <c:v>6.9041661551641209E-3</c:v>
                </c:pt>
                <c:pt idx="4">
                  <c:v>1.7136362695813756E-3</c:v>
                </c:pt>
                <c:pt idx="5">
                  <c:v>5.5593353195889112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47132325693032001</c:v>
                </c:pt>
                <c:pt idx="1">
                  <c:v>0.43513029091410449</c:v>
                </c:pt>
                <c:pt idx="2">
                  <c:v>2.1354970406290398E-2</c:v>
                </c:pt>
                <c:pt idx="3">
                  <c:v>1.5322460926377875E-2</c:v>
                </c:pt>
                <c:pt idx="4">
                  <c:v>1.1277870438551189E-2</c:v>
                </c:pt>
                <c:pt idx="5">
                  <c:v>4.5591150384356016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7</c:f>
              <c:numCache>
                <c:formatCode>General</c:formatCode>
                <c:ptCount val="6"/>
                <c:pt idx="0">
                  <c:v>-5.1820191395682835E-3</c:v>
                </c:pt>
                <c:pt idx="1">
                  <c:v>5.5479308761380852E-3</c:v>
                </c:pt>
                <c:pt idx="2">
                  <c:v>-1.5378127603438152E-4</c:v>
                </c:pt>
                <c:pt idx="3">
                  <c:v>0</c:v>
                </c:pt>
                <c:pt idx="4">
                  <c:v>5.9455322012120192E-4</c:v>
                </c:pt>
                <c:pt idx="5">
                  <c:v>5.746747440292339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7132325693032001</c:v>
                </c:pt>
                <c:pt idx="1">
                  <c:v>0.34789812281066629</c:v>
                </c:pt>
                <c:pt idx="2">
                  <c:v>5.4471415623889616E-2</c:v>
                </c:pt>
                <c:pt idx="3">
                  <c:v>3.2760752479548592E-2</c:v>
                </c:pt>
                <c:pt idx="4">
                  <c:v>2.1349189784337294E-2</c:v>
                </c:pt>
                <c:pt idx="5">
                  <c:v>5.7806219531048886E-6</c:v>
                </c:pt>
                <c:pt idx="6">
                  <c:v>7.21914817492850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7</c:f>
              <c:numCache>
                <c:formatCode>General</c:formatCode>
                <c:ptCount val="6"/>
                <c:pt idx="0">
                  <c:v>-8.6775117723081163E-2</c:v>
                </c:pt>
                <c:pt idx="1">
                  <c:v>0.11635269675112331</c:v>
                </c:pt>
                <c:pt idx="2">
                  <c:v>-4.508402090082058E-2</c:v>
                </c:pt>
                <c:pt idx="3">
                  <c:v>1.5322460926377875E-2</c:v>
                </c:pt>
                <c:pt idx="4">
                  <c:v>3.744397675773445E-3</c:v>
                </c:pt>
                <c:pt idx="5">
                  <c:v>-3.4794185696887994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11</c:f>
              <c:numCache>
                <c:formatCode>General</c:formatCode>
                <c:ptCount val="10"/>
                <c:pt idx="0">
                  <c:v>-7.9161622813287813E-2</c:v>
                </c:pt>
                <c:pt idx="1">
                  <c:v>-1.0811409605435085E-2</c:v>
                </c:pt>
                <c:pt idx="2">
                  <c:v>1.4903612346106931E-2</c:v>
                </c:pt>
                <c:pt idx="3">
                  <c:v>1.6801065184925277E-2</c:v>
                </c:pt>
                <c:pt idx="4">
                  <c:v>8.8584869385532304E-3</c:v>
                </c:pt>
                <c:pt idx="5">
                  <c:v>1.2923778363487924E-2</c:v>
                </c:pt>
                <c:pt idx="6">
                  <c:v>8.7555808958992287E-3</c:v>
                </c:pt>
                <c:pt idx="7">
                  <c:v>7.6415421740337816E-3</c:v>
                </c:pt>
                <c:pt idx="8">
                  <c:v>4.7888398588548913E-3</c:v>
                </c:pt>
                <c:pt idx="9">
                  <c:v>1.5555167003315697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8</c:f>
              <c:numCache>
                <c:formatCode>General</c:formatCode>
                <c:ptCount val="7"/>
                <c:pt idx="0">
                  <c:v>-8.6775117723081163E-2</c:v>
                </c:pt>
                <c:pt idx="1">
                  <c:v>0.113485465414388</c:v>
                </c:pt>
                <c:pt idx="2">
                  <c:v>-3.1547542840137249E-3</c:v>
                </c:pt>
                <c:pt idx="3">
                  <c:v>1.4339144404770323E-2</c:v>
                </c:pt>
                <c:pt idx="4">
                  <c:v>4.7791735839566238E-3</c:v>
                </c:pt>
                <c:pt idx="5">
                  <c:v>-4.9863194484777211E-2</c:v>
                </c:pt>
                <c:pt idx="6">
                  <c:v>1.8307894029468627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c:v>
                </c:pt>
                <c:pt idx="1">
                  <c:v>0</c:v>
                </c:pt>
                <c:pt idx="2">
                  <c:v>0</c:v>
                </c:pt>
                <c:pt idx="3">
                  <c:v>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5</c:f>
              <c:numCache>
                <c:formatCode>General</c:formatCode>
                <c:ptCount val="4"/>
                <c:pt idx="0">
                  <c:v>4.999460351341134E-3</c:v>
                </c:pt>
                <c:pt idx="1">
                  <c:v>-6.9496372608632284E-3</c:v>
                </c:pt>
                <c:pt idx="2">
                  <c:v>-1.070089924266121E-2</c:v>
                </c:pt>
                <c:pt idx="3">
                  <c:v>1.265107615218330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c:f>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5</c:f>
              <c:numCache>
                <c:formatCode>General</c:formatCode>
                <c:ptCount val="4"/>
                <c:pt idx="0">
                  <c:v>0</c:v>
                </c:pt>
                <c:pt idx="1">
                  <c:v>0</c:v>
                </c:pt>
                <c:pt idx="2">
                  <c:v>0</c:v>
                </c:pt>
                <c:pt idx="3">
                  <c:v>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1</c:f>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47148417670046305</c:v>
                </c:pt>
                <c:pt idx="1">
                  <c:v>0.43515433275202892</c:v>
                </c:pt>
                <c:pt idx="2">
                  <c:v>2.1362260261146515E-2</c:v>
                </c:pt>
                <c:pt idx="3">
                  <c:v>1.5327587220883452E-2</c:v>
                </c:pt>
                <c:pt idx="4">
                  <c:v>1.1281053995854669E-2</c:v>
                </c:pt>
                <c:pt idx="5">
                  <c:v>4.539058906962339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7</c:f>
              <c:numCache>
                <c:formatCode>General</c:formatCode>
                <c:ptCount val="6"/>
                <c:pt idx="0">
                  <c:v>-1.4770804244267688E-2</c:v>
                </c:pt>
                <c:pt idx="1">
                  <c:v>3.610119892085184E-2</c:v>
                </c:pt>
                <c:pt idx="2">
                  <c:v>-9.0353726375534613E-3</c:v>
                </c:pt>
                <c:pt idx="3">
                  <c:v>0</c:v>
                </c:pt>
                <c:pt idx="4">
                  <c:v>1.0744450693488967E-3</c:v>
                </c:pt>
                <c:pt idx="5">
                  <c:v>-1.336946710837958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7148417670046305</c:v>
                </c:pt>
                <c:pt idx="1">
                  <c:v>0.34802117401507782</c:v>
                </c:pt>
                <c:pt idx="2">
                  <c:v>5.4439276656194656E-2</c:v>
                </c:pt>
                <c:pt idx="3">
                  <c:v>3.2693882080756444E-2</c:v>
                </c:pt>
                <c:pt idx="4">
                  <c:v>2.1356477565972556E-2</c:v>
                </c:pt>
                <c:pt idx="5">
                  <c:v>5.7826951739594654E-6</c:v>
                </c:pt>
                <c:pt idx="6">
                  <c:v>7.1999230286361515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7</c:f>
              <c:numCache>
                <c:formatCode>General</c:formatCode>
                <c:ptCount val="6"/>
                <c:pt idx="0">
                  <c:v>1.3863857342276686E-2</c:v>
                </c:pt>
                <c:pt idx="1">
                  <c:v>-5.278816446360679E-2</c:v>
                </c:pt>
                <c:pt idx="2">
                  <c:v>1.8702490857040489E-3</c:v>
                </c:pt>
                <c:pt idx="3">
                  <c:v>1.5327587220883452E-2</c:v>
                </c:pt>
                <c:pt idx="4">
                  <c:v>1.5668244941085662E-3</c:v>
                </c:pt>
                <c:pt idx="5">
                  <c:v>2.0302090843970826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33629726605717514</c:v>
                </c:pt>
                <c:pt idx="1">
                  <c:v>0.17132212320628001</c:v>
                </c:pt>
                <c:pt idx="2">
                  <c:v>0.13278442079834468</c:v>
                </c:pt>
                <c:pt idx="3">
                  <c:v>0.12925576415038473</c:v>
                </c:pt>
                <c:pt idx="4">
                  <c:v>3.8386901852451236E-2</c:v>
                </c:pt>
                <c:pt idx="5">
                  <c:v>3.4147612009700137E-2</c:v>
                </c:pt>
                <c:pt idx="6">
                  <c:v>2.1400437666045428E-2</c:v>
                </c:pt>
                <c:pt idx="7">
                  <c:v>0.1364054742596186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8</c:f>
              <c:numCache>
                <c:formatCode>General</c:formatCode>
                <c:ptCount val="7"/>
                <c:pt idx="0">
                  <c:v>1.3863857342276686E-2</c:v>
                </c:pt>
                <c:pt idx="1">
                  <c:v>-1.5712864284723849E-2</c:v>
                </c:pt>
                <c:pt idx="2">
                  <c:v>-3.6227027690043427E-2</c:v>
                </c:pt>
                <c:pt idx="3">
                  <c:v>-8.457157922668046E-4</c:v>
                </c:pt>
                <c:pt idx="4">
                  <c:v>2.1108832411571611E-3</c:v>
                </c:pt>
                <c:pt idx="5">
                  <c:v>-2.4063415545311296E-4</c:v>
                </c:pt>
                <c:pt idx="6">
                  <c:v>3.7196502558962848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72898754382501219</c:v>
                </c:pt>
                <c:pt idx="1">
                  <c:v>0.16099746565854658</c:v>
                </c:pt>
                <c:pt idx="2">
                  <c:v>8.6197900872779606E-2</c:v>
                </c:pt>
                <c:pt idx="3">
                  <c:v>1.9218482025636575E-2</c:v>
                </c:pt>
                <c:pt idx="4">
                  <c:v>4.5986076180250107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6</c:f>
              <c:numCache>
                <c:formatCode>General</c:formatCode>
                <c:ptCount val="5"/>
                <c:pt idx="0">
                  <c:v>2.1544878289389002E-3</c:v>
                </c:pt>
                <c:pt idx="1">
                  <c:v>3.0836685349975024E-3</c:v>
                </c:pt>
                <c:pt idx="2">
                  <c:v>1.8778083771673892E-3</c:v>
                </c:pt>
                <c:pt idx="3">
                  <c:v>-5.8735955821981531E-3</c:v>
                </c:pt>
                <c:pt idx="4">
                  <c:v>-1.2423691589056062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6363737229116463</c:v>
                </c:pt>
                <c:pt idx="1">
                  <c:v>0.26089373181842807</c:v>
                </c:pt>
                <c:pt idx="2">
                  <c:v>0.20438609500688243</c:v>
                </c:pt>
                <c:pt idx="3">
                  <c:v>0.16099746565854658</c:v>
                </c:pt>
                <c:pt idx="4">
                  <c:v>8.6197900872779606E-2</c:v>
                </c:pt>
                <c:pt idx="5">
                  <c:v>1.920500943558822E-2</c:v>
                </c:pt>
                <c:pt idx="6">
                  <c:v>4.682424916610463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6</c:f>
              <c:numCache>
                <c:formatCode>General</c:formatCode>
                <c:ptCount val="5"/>
                <c:pt idx="0">
                  <c:v>9.7554667529513583E-3</c:v>
                </c:pt>
                <c:pt idx="1">
                  <c:v>-7.6306501412977956E-3</c:v>
                </c:pt>
                <c:pt idx="2">
                  <c:v>1.2406012927430682E-2</c:v>
                </c:pt>
                <c:pt idx="3">
                  <c:v>-1.3788556402876722E-2</c:v>
                </c:pt>
                <c:pt idx="4">
                  <c:v>-7.4227313620756291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8</c:f>
              <c:numCache>
                <c:formatCode>General</c:formatCode>
                <c:ptCount val="7"/>
                <c:pt idx="0">
                  <c:v>-2.6156113732978548E-3</c:v>
                </c:pt>
                <c:pt idx="1">
                  <c:v>1.0958106367685516E-2</c:v>
                </c:pt>
                <c:pt idx="2">
                  <c:v>1.3821485791895849E-3</c:v>
                </c:pt>
                <c:pt idx="3">
                  <c:v>-7.6306501412977956E-3</c:v>
                </c:pt>
                <c:pt idx="4">
                  <c:v>1.2406012927430682E-2</c:v>
                </c:pt>
                <c:pt idx="5">
                  <c:v>-1.3776254082601427E-2</c:v>
                </c:pt>
                <c:pt idx="6">
                  <c:v>-7.2375227710869106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78299677284510616</c:v>
                </c:pt>
                <c:pt idx="1">
                  <c:v>0.10358334814043174</c:v>
                </c:pt>
                <c:pt idx="2">
                  <c:v>9.5725379179225134E-2</c:v>
                </c:pt>
                <c:pt idx="3">
                  <c:v>1.7640743555211277E-2</c:v>
                </c:pt>
                <c:pt idx="4">
                  <c:v>5.3756280025725276E-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6</c:f>
              <c:numCache>
                <c:formatCode>General</c:formatCode>
                <c:ptCount val="5"/>
                <c:pt idx="0">
                  <c:v>5.261118967287981E-3</c:v>
                </c:pt>
                <c:pt idx="1">
                  <c:v>-3.7726411377078384E-3</c:v>
                </c:pt>
                <c:pt idx="2">
                  <c:v>2.7522387566950024E-3</c:v>
                </c:pt>
                <c:pt idx="3">
                  <c:v>-4.2447666154016607E-3</c:v>
                </c:pt>
                <c:pt idx="4">
                  <c:v>4.050029126586435E-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7875153603401298</c:v>
                </c:pt>
                <c:pt idx="1">
                  <c:v>0.27578861393194892</c:v>
                </c:pt>
                <c:pt idx="2">
                  <c:v>0.22845662287914417</c:v>
                </c:pt>
                <c:pt idx="3">
                  <c:v>0.10358334814043174</c:v>
                </c:pt>
                <c:pt idx="4">
                  <c:v>9.5725379179225134E-2</c:v>
                </c:pt>
                <c:pt idx="5">
                  <c:v>1.7640743555211277E-2</c:v>
                </c:pt>
                <c:pt idx="6">
                  <c:v>5.3756280025725276E-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6</c:f>
              <c:numCache>
                <c:formatCode>General</c:formatCode>
                <c:ptCount val="5"/>
                <c:pt idx="0">
                  <c:v>-4.2132878532430418E-4</c:v>
                </c:pt>
                <c:pt idx="1">
                  <c:v>7.4597326992908164E-3</c:v>
                </c:pt>
                <c:pt idx="2">
                  <c:v>7.6412432032360866E-3</c:v>
                </c:pt>
                <c:pt idx="3">
                  <c:v>-1.472428637463968E-2</c:v>
                </c:pt>
                <c:pt idx="4">
                  <c:v>4.5439776493724012E-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9</c:f>
              <c:numCache>
                <c:formatCode>General</c:formatCode>
                <c:ptCount val="8"/>
                <c:pt idx="0">
                  <c:v>2.3168939040376646E-3</c:v>
                </c:pt>
                <c:pt idx="1">
                  <c:v>-4.9140901392454028E-4</c:v>
                </c:pt>
                <c:pt idx="2">
                  <c:v>5.6941545769766122E-4</c:v>
                </c:pt>
                <c:pt idx="3">
                  <c:v>-4.0439351705159055E-3</c:v>
                </c:pt>
                <c:pt idx="4">
                  <c:v>-6.8140862721417783E-4</c:v>
                </c:pt>
                <c:pt idx="5">
                  <c:v>6.0032050308897293E-4</c:v>
                </c:pt>
                <c:pt idx="6">
                  <c:v>1.0643999356434262E-3</c:v>
                </c:pt>
                <c:pt idx="7">
                  <c:v>6.65723011186893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8</c:f>
              <c:numCache>
                <c:formatCode>General</c:formatCode>
                <c:ptCount val="7"/>
                <c:pt idx="0">
                  <c:v>-2.5400742970360102E-2</c:v>
                </c:pt>
                <c:pt idx="1">
                  <c:v>6.372680196070124E-3</c:v>
                </c:pt>
                <c:pt idx="2">
                  <c:v>1.8606733988965563E-2</c:v>
                </c:pt>
                <c:pt idx="3">
                  <c:v>7.4597326992908164E-3</c:v>
                </c:pt>
                <c:pt idx="4">
                  <c:v>7.6412432032360866E-3</c:v>
                </c:pt>
                <c:pt idx="5">
                  <c:v>-1.4720684038885181E-2</c:v>
                </c:pt>
                <c:pt idx="6">
                  <c:v>4.5439776493724012E-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7653687708117598</c:v>
                </c:pt>
                <c:pt idx="1">
                  <c:v>0.12583075474925509</c:v>
                </c:pt>
                <c:pt idx="2">
                  <c:v>8.6383181178948096E-2</c:v>
                </c:pt>
                <c:pt idx="3">
                  <c:v>2.241606414349526E-2</c:v>
                </c:pt>
                <c:pt idx="4">
                  <c:v>1.2291165417576981E-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6</c:f>
              <c:numCache>
                <c:formatCode>General</c:formatCode>
                <c:ptCount val="5"/>
                <c:pt idx="0">
                  <c:v>1.1148375693849077E-2</c:v>
                </c:pt>
                <c:pt idx="1">
                  <c:v>3.0822445373458462E-3</c:v>
                </c:pt>
                <c:pt idx="2">
                  <c:v>-2.2173698459936608E-3</c:v>
                </c:pt>
                <c:pt idx="3">
                  <c:v>-1.1954768473472627E-2</c:v>
                </c:pt>
                <c:pt idx="4">
                  <c:v>-5.8481911728687601E-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8979485020654278</c:v>
                </c:pt>
                <c:pt idx="1">
                  <c:v>0.24138035933222099</c:v>
                </c:pt>
                <c:pt idx="2">
                  <c:v>0.23419356127299601</c:v>
                </c:pt>
                <c:pt idx="3">
                  <c:v>0.12583075474925509</c:v>
                </c:pt>
                <c:pt idx="4">
                  <c:v>8.6383181178948096E-2</c:v>
                </c:pt>
                <c:pt idx="5">
                  <c:v>2.241606414349526E-2</c:v>
                </c:pt>
                <c:pt idx="6">
                  <c:v>1.2291165417576981E-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6</c:f>
              <c:numCache>
                <c:formatCode>General</c:formatCode>
                <c:ptCount val="5"/>
                <c:pt idx="0">
                  <c:v>1.0017840206605233E-2</c:v>
                </c:pt>
                <c:pt idx="1">
                  <c:v>-8.3444879828964702E-3</c:v>
                </c:pt>
                <c:pt idx="2">
                  <c:v>1.1781618705277677E-2</c:v>
                </c:pt>
                <c:pt idx="3">
                  <c:v>-1.3456200045528218E-2</c:v>
                </c:pt>
                <c:pt idx="4">
                  <c:v>1.2291165417576981E-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8</c:f>
              <c:numCache>
                <c:formatCode>General</c:formatCode>
                <c:ptCount val="7"/>
                <c:pt idx="0">
                  <c:v>2.4643776628135772E-2</c:v>
                </c:pt>
                <c:pt idx="1">
                  <c:v>-2.8919033111566933E-2</c:v>
                </c:pt>
                <c:pt idx="2">
                  <c:v>1.4293096690036422E-2</c:v>
                </c:pt>
                <c:pt idx="3">
                  <c:v>-8.3444879828964702E-3</c:v>
                </c:pt>
                <c:pt idx="4">
                  <c:v>1.1781618705277677E-2</c:v>
                </c:pt>
                <c:pt idx="5">
                  <c:v>-1.3456200045528218E-2</c:v>
                </c:pt>
                <c:pt idx="6">
                  <c:v>1.2291165417576981E-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7811822285026373</c:v>
                </c:pt>
                <c:pt idx="1">
                  <c:v>0.19234377259598257</c:v>
                </c:pt>
                <c:pt idx="2">
                  <c:v>0.15273247479266067</c:v>
                </c:pt>
                <c:pt idx="3">
                  <c:v>0.10045654377252046</c:v>
                </c:pt>
                <c:pt idx="4">
                  <c:v>4.4267364068319326E-2</c:v>
                </c:pt>
                <c:pt idx="5">
                  <c:v>2.0008640466277573E-2</c:v>
                </c:pt>
                <c:pt idx="6">
                  <c:v>1.2072981453975652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8</c:f>
              <c:numCache>
                <c:formatCode>General</c:formatCode>
                <c:ptCount val="7"/>
                <c:pt idx="0">
                  <c:v>-2.1116965181665226E-2</c:v>
                </c:pt>
                <c:pt idx="1">
                  <c:v>1.0541091427868104E-2</c:v>
                </c:pt>
                <c:pt idx="2">
                  <c:v>1.3678114131823571E-2</c:v>
                </c:pt>
                <c:pt idx="3">
                  <c:v>-8.7018596936483394E-4</c:v>
                </c:pt>
                <c:pt idx="4">
                  <c:v>-1.9640372499132794E-3</c:v>
                </c:pt>
                <c:pt idx="5">
                  <c:v>-6.5549888051543576E-5</c:v>
                </c:pt>
                <c:pt idx="6">
                  <c:v>-2.0246727069679225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29611634591998715</c:v>
                </c:pt>
                <c:pt idx="1">
                  <c:v>0.19234377259598257</c:v>
                </c:pt>
                <c:pt idx="2">
                  <c:v>0.15136553389364915</c:v>
                </c:pt>
                <c:pt idx="3">
                  <c:v>0.10651841953118901</c:v>
                </c:pt>
                <c:pt idx="4">
                  <c:v>9.3255846227439834E-2</c:v>
                </c:pt>
                <c:pt idx="5">
                  <c:v>6.6299752015734015E-2</c:v>
                </c:pt>
                <c:pt idx="6">
                  <c:v>4.4267364068319326E-2</c:v>
                </c:pt>
                <c:pt idx="7">
                  <c:v>7.2005487767218442E-3</c:v>
                </c:pt>
                <c:pt idx="8">
                  <c:v>1.4876835877361912E-7</c:v>
                </c:pt>
                <c:pt idx="9">
                  <c:v>4.26322682026183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8</c:f>
              <c:numCache>
                <c:formatCode>General</c:formatCode>
                <c:ptCount val="7"/>
                <c:pt idx="0">
                  <c:v>1.9206097444708636E-2</c:v>
                </c:pt>
                <c:pt idx="1">
                  <c:v>-1.9369529547557524E-2</c:v>
                </c:pt>
                <c:pt idx="2">
                  <c:v>2.7754689690232717E-2</c:v>
                </c:pt>
                <c:pt idx="3">
                  <c:v>-2.7956366434323601E-2</c:v>
                </c:pt>
                <c:pt idx="4">
                  <c:v>1.1614846631880296E-3</c:v>
                </c:pt>
                <c:pt idx="5">
                  <c:v>7.1975343810880624E-4</c:v>
                </c:pt>
                <c:pt idx="6">
                  <c:v>-1.5161292543571117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3629726605717514</c:v>
                </c:pt>
                <c:pt idx="1">
                  <c:v>3.9901864727342154E-2</c:v>
                </c:pt>
                <c:pt idx="2">
                  <c:v>3.9294973667401478E-2</c:v>
                </c:pt>
                <c:pt idx="3">
                  <c:v>3.7177340449542219E-2</c:v>
                </c:pt>
                <c:pt idx="4">
                  <c:v>3.6864943053391733E-2</c:v>
                </c:pt>
                <c:pt idx="5">
                  <c:v>3.5723106142633312E-2</c:v>
                </c:pt>
                <c:pt idx="6">
                  <c:v>2.8915068219525632E-2</c:v>
                </c:pt>
                <c:pt idx="7">
                  <c:v>2.5014109161964379E-2</c:v>
                </c:pt>
                <c:pt idx="8">
                  <c:v>2.3146682105111414E-2</c:v>
                </c:pt>
                <c:pt idx="9">
                  <c:v>0.3976646464159125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11</c:f>
              <c:numCache>
                <c:formatCode>General</c:formatCode>
                <c:ptCount val="10"/>
                <c:pt idx="0">
                  <c:v>1.6932776143420591E-2</c:v>
                </c:pt>
                <c:pt idx="1">
                  <c:v>-1.9369529547557524E-2</c:v>
                </c:pt>
                <c:pt idx="2">
                  <c:v>2.6387748791221202E-2</c:v>
                </c:pt>
                <c:pt idx="3">
                  <c:v>-7.1317265270715718E-3</c:v>
                </c:pt>
                <c:pt idx="4">
                  <c:v>-2.4066225498486138E-2</c:v>
                </c:pt>
                <c:pt idx="5">
                  <c:v>8.3501692479137496E-3</c:v>
                </c:pt>
                <c:pt idx="6">
                  <c:v>1.1614846631880296E-3</c:v>
                </c:pt>
                <c:pt idx="7">
                  <c:v>-3.8902897041962411E-3</c:v>
                </c:pt>
                <c:pt idx="8">
                  <c:v>1.4876835877361912E-7</c:v>
                </c:pt>
                <c:pt idx="9">
                  <c:v>1.6254436632091149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8847514831215211</c:v>
                </c:pt>
                <c:pt idx="1">
                  <c:v>0.16213784063548314</c:v>
                </c:pt>
                <c:pt idx="2">
                  <c:v>0.12966800019878572</c:v>
                </c:pt>
                <c:pt idx="3">
                  <c:v>0.11270341231064868</c:v>
                </c:pt>
                <c:pt idx="4">
                  <c:v>7.0825976924268369E-2</c:v>
                </c:pt>
                <c:pt idx="5">
                  <c:v>2.045274459494004E-2</c:v>
                </c:pt>
                <c:pt idx="6">
                  <c:v>1.573687702372192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8</c:f>
              <c:numCache>
                <c:formatCode>General</c:formatCode>
                <c:ptCount val="7"/>
                <c:pt idx="0">
                  <c:v>-1.1880980829830523E-2</c:v>
                </c:pt>
                <c:pt idx="1">
                  <c:v>1.2862358575007948E-2</c:v>
                </c:pt>
                <c:pt idx="2">
                  <c:v>8.877522585220482E-3</c:v>
                </c:pt>
                <c:pt idx="3">
                  <c:v>-1.2643718906026336E-3</c:v>
                </c:pt>
                <c:pt idx="4">
                  <c:v>-1.0574807378413542E-2</c:v>
                </c:pt>
                <c:pt idx="5">
                  <c:v>1.7650581724549981E-3</c:v>
                </c:pt>
                <c:pt idx="6">
                  <c:v>2.1522076616326555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2970859348380675</c:v>
                </c:pt>
                <c:pt idx="1">
                  <c:v>0.16043379926377807</c:v>
                </c:pt>
                <c:pt idx="2">
                  <c:v>0.12966800019878572</c:v>
                </c:pt>
                <c:pt idx="3">
                  <c:v>0.10616482532513906</c:v>
                </c:pt>
                <c:pt idx="4">
                  <c:v>0.10235644019547083</c:v>
                </c:pt>
                <c:pt idx="5">
                  <c:v>7.424221878310637E-2</c:v>
                </c:pt>
                <c:pt idx="6">
                  <c:v>7.0825976924268369E-2</c:v>
                </c:pt>
                <c:pt idx="7">
                  <c:v>1.0346095515999654E-2</c:v>
                </c:pt>
                <c:pt idx="8">
                  <c:v>8.7659917819501354E-7</c:v>
                </c:pt>
                <c:pt idx="9">
                  <c:v>4.8875832356206211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8</c:f>
              <c:numCache>
                <c:formatCode>General</c:formatCode>
                <c:ptCount val="7"/>
                <c:pt idx="0">
                  <c:v>1.0400351399100782E-2</c:v>
                </c:pt>
                <c:pt idx="1">
                  <c:v>2.4107421016476699E-2</c:v>
                </c:pt>
                <c:pt idx="2">
                  <c:v>-2.5297902072027811E-2</c:v>
                </c:pt>
                <c:pt idx="3">
                  <c:v>-9.4752571009483755E-3</c:v>
                </c:pt>
                <c:pt idx="4">
                  <c:v>-1.3176793481519122E-3</c:v>
                </c:pt>
                <c:pt idx="5">
                  <c:v>-1.6697484005347846E-4</c:v>
                </c:pt>
                <c:pt idx="6">
                  <c:v>1.7500409456040712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11</c:f>
              <c:numCache>
                <c:formatCode>General</c:formatCode>
                <c:ptCount val="10"/>
                <c:pt idx="0">
                  <c:v>1.134454544063962E-2</c:v>
                </c:pt>
                <c:pt idx="1">
                  <c:v>2.2403379644771626E-2</c:v>
                </c:pt>
                <c:pt idx="2">
                  <c:v>-2.5297902072027811E-2</c:v>
                </c:pt>
                <c:pt idx="3">
                  <c:v>-7.5716634262982113E-3</c:v>
                </c:pt>
                <c:pt idx="4">
                  <c:v>-1.6381527987664318E-3</c:v>
                </c:pt>
                <c:pt idx="5">
                  <c:v>6.3482768080852514E-3</c:v>
                </c:pt>
                <c:pt idx="6">
                  <c:v>-1.3176793481519122E-3</c:v>
                </c:pt>
                <c:pt idx="7">
                  <c:v>-7.8379809013601458E-3</c:v>
                </c:pt>
                <c:pt idx="8">
                  <c:v>8.7659917819501354E-7</c:v>
                </c:pt>
                <c:pt idx="9">
                  <c:v>3.5663000539297939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53276413439801662</c:v>
                </c:pt>
                <c:pt idx="1">
                  <c:v>0.1429643255150754</c:v>
                </c:pt>
                <c:pt idx="2">
                  <c:v>0.14290204190012662</c:v>
                </c:pt>
                <c:pt idx="3">
                  <c:v>0.14154369181989615</c:v>
                </c:pt>
                <c:pt idx="4">
                  <c:v>3.5411129751728887E-2</c:v>
                </c:pt>
                <c:pt idx="5">
                  <c:v>4.4146766151563427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7</c:f>
              <c:numCache>
                <c:formatCode>General</c:formatCode>
                <c:ptCount val="6"/>
                <c:pt idx="0">
                  <c:v>-4.3187768595003451E-2</c:v>
                </c:pt>
                <c:pt idx="1">
                  <c:v>2.8186621013422383E-2</c:v>
                </c:pt>
                <c:pt idx="2">
                  <c:v>8.4122127680404668E-3</c:v>
                </c:pt>
                <c:pt idx="3">
                  <c:v>5.9977788084544237E-3</c:v>
                </c:pt>
                <c:pt idx="4">
                  <c:v>-5.3021286075576046E-4</c:v>
                </c:pt>
                <c:pt idx="5">
                  <c:v>1.1213688658419712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3495661866567283</c:v>
                </c:pt>
                <c:pt idx="1">
                  <c:v>0.14290204190012662</c:v>
                </c:pt>
                <c:pt idx="2">
                  <c:v>0.1426367440068825</c:v>
                </c:pt>
                <c:pt idx="3">
                  <c:v>0.13477890637743031</c:v>
                </c:pt>
                <c:pt idx="4">
                  <c:v>0.11501460187481841</c:v>
                </c:pt>
                <c:pt idx="5">
                  <c:v>7.2014001885060422E-2</c:v>
                </c:pt>
                <c:pt idx="6">
                  <c:v>3.5411129751728887E-2</c:v>
                </c:pt>
                <c:pt idx="7">
                  <c:v>6.7647854424658311E-3</c:v>
                </c:pt>
                <c:pt idx="8">
                  <c:v>1.5521170095814191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7</c:f>
              <c:numCache>
                <c:formatCode>General</c:formatCode>
                <c:ptCount val="6"/>
                <c:pt idx="0">
                  <c:v>5.888448856273143E-2</c:v>
                </c:pt>
                <c:pt idx="1">
                  <c:v>3.8574953017111641E-2</c:v>
                </c:pt>
                <c:pt idx="2">
                  <c:v>-5.1946576090862562E-2</c:v>
                </c:pt>
                <c:pt idx="3">
                  <c:v>-3.1074409457670399E-2</c:v>
                </c:pt>
                <c:pt idx="4">
                  <c:v>-1.2056496698223847E-2</c:v>
                </c:pt>
                <c:pt idx="5">
                  <c:v>-2.3819593330862152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9</c:f>
              <c:numCache>
                <c:formatCode>General</c:formatCode>
                <c:ptCount val="8"/>
                <c:pt idx="0">
                  <c:v>-0.10854095629702509</c:v>
                </c:pt>
                <c:pt idx="1">
                  <c:v>5.6891682051759471E-2</c:v>
                </c:pt>
                <c:pt idx="2">
                  <c:v>5.4607400851110779E-2</c:v>
                </c:pt>
                <c:pt idx="3">
                  <c:v>-2.3647369476230445E-2</c:v>
                </c:pt>
                <c:pt idx="4">
                  <c:v>1.0210119567973363E-2</c:v>
                </c:pt>
                <c:pt idx="5">
                  <c:v>1.2843314904746266E-2</c:v>
                </c:pt>
                <c:pt idx="6">
                  <c:v>1.1315613030150532E-2</c:v>
                </c:pt>
                <c:pt idx="7">
                  <c:v>-9.245344280415172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10</c:f>
              <c:numCache>
                <c:formatCode>General</c:formatCode>
                <c:ptCount val="9"/>
                <c:pt idx="0">
                  <c:v>4.1843840151496059E-2</c:v>
                </c:pt>
                <c:pt idx="1">
                  <c:v>-5.1946576090862562E-2</c:v>
                </c:pt>
                <c:pt idx="2">
                  <c:v>3.8247371508918743E-2</c:v>
                </c:pt>
                <c:pt idx="3">
                  <c:v>-2.5591011469155156E-2</c:v>
                </c:pt>
                <c:pt idx="4">
                  <c:v>4.6063734469084378E-3</c:v>
                </c:pt>
                <c:pt idx="5">
                  <c:v>9.5675028393612943E-3</c:v>
                </c:pt>
                <c:pt idx="6">
                  <c:v>-1.2056496698223847E-2</c:v>
                </c:pt>
                <c:pt idx="7">
                  <c:v>-5.4833979885152455E-3</c:v>
                </c:pt>
                <c:pt idx="8">
                  <c:v>3.0540102681475643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56511946298241633</c:v>
                </c:pt>
                <c:pt idx="1">
                  <c:v>0.20190322657864404</c:v>
                </c:pt>
                <c:pt idx="2">
                  <c:v>9.1552817726695671E-2</c:v>
                </c:pt>
                <c:pt idx="3">
                  <c:v>2.1661816114543295E-2</c:v>
                </c:pt>
                <c:pt idx="4">
                  <c:v>1.04760517529091E-2</c:v>
                </c:pt>
                <c:pt idx="5">
                  <c:v>0.1092866248447915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7</c:f>
              <c:numCache>
                <c:formatCode>General</c:formatCode>
                <c:ptCount val="6"/>
                <c:pt idx="0">
                  <c:v>2.8997452818310676E-2</c:v>
                </c:pt>
                <c:pt idx="1">
                  <c:v>-2.447855225275225E-2</c:v>
                </c:pt>
                <c:pt idx="2">
                  <c:v>4.5286350417331617E-3</c:v>
                </c:pt>
                <c:pt idx="3">
                  <c:v>-8.6760310660206896E-4</c:v>
                </c:pt>
                <c:pt idx="4">
                  <c:v>-1.2236843985210816E-3</c:v>
                </c:pt>
                <c:pt idx="5">
                  <c:v>-6.9562481021684195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56511946298241633</c:v>
                </c:pt>
                <c:pt idx="1">
                  <c:v>0.12967410454850634</c:v>
                </c:pt>
                <c:pt idx="2">
                  <c:v>8.8913455519362028E-2</c:v>
                </c:pt>
                <c:pt idx="3">
                  <c:v>7.018882622971151E-2</c:v>
                </c:pt>
                <c:pt idx="4">
                  <c:v>2.166167400993348E-2</c:v>
                </c:pt>
                <c:pt idx="5">
                  <c:v>1.04760517529091E-2</c:v>
                </c:pt>
                <c:pt idx="6">
                  <c:v>0.1139664249571611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7</c:f>
              <c:numCache>
                <c:formatCode>General</c:formatCode>
                <c:ptCount val="6"/>
                <c:pt idx="0">
                  <c:v>4.2898931067313351E-3</c:v>
                </c:pt>
                <c:pt idx="1">
                  <c:v>-1.6705724060611854E-2</c:v>
                </c:pt>
                <c:pt idx="2">
                  <c:v>8.6403999219077793E-3</c:v>
                </c:pt>
                <c:pt idx="3">
                  <c:v>3.6711519374058414E-3</c:v>
                </c:pt>
                <c:pt idx="4">
                  <c:v>-5.266282218532016E-3</c:v>
                </c:pt>
                <c:pt idx="5">
                  <c:v>7.8147648760208879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8</c:f>
              <c:numCache>
                <c:formatCode>General</c:formatCode>
                <c:ptCount val="7"/>
                <c:pt idx="0">
                  <c:v>4.2898931067313351E-3</c:v>
                </c:pt>
                <c:pt idx="1">
                  <c:v>-4.2261970123096959E-3</c:v>
                </c:pt>
                <c:pt idx="2">
                  <c:v>6.0010377145741367E-3</c:v>
                </c:pt>
                <c:pt idx="3">
                  <c:v>-1.0787141460266575E-2</c:v>
                </c:pt>
                <c:pt idx="4">
                  <c:v>3.7679237856068359E-3</c:v>
                </c:pt>
                <c:pt idx="5">
                  <c:v>-5.266282218532016E-3</c:v>
                </c:pt>
                <c:pt idx="6">
                  <c:v>8.66496964711795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52373347168550743</c:v>
                </c:pt>
                <c:pt idx="1">
                  <c:v>0.18613857317233173</c:v>
                </c:pt>
                <c:pt idx="2">
                  <c:v>9.9684951123247836E-2</c:v>
                </c:pt>
                <c:pt idx="3">
                  <c:v>2.4235701196868683E-2</c:v>
                </c:pt>
                <c:pt idx="4">
                  <c:v>1.6144620862610648E-2</c:v>
                </c:pt>
                <c:pt idx="5">
                  <c:v>0.1500626819594336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7</c:f>
              <c:numCache>
                <c:formatCode>General</c:formatCode>
                <c:ptCount val="6"/>
                <c:pt idx="0">
                  <c:v>1.9667218573067524E-2</c:v>
                </c:pt>
                <c:pt idx="1">
                  <c:v>-1.8388093706605324E-2</c:v>
                </c:pt>
                <c:pt idx="2">
                  <c:v>6.7139621464989419E-3</c:v>
                </c:pt>
                <c:pt idx="3">
                  <c:v>2.8015025907381468E-3</c:v>
                </c:pt>
                <c:pt idx="4">
                  <c:v>-8.1089771007857026E-4</c:v>
                </c:pt>
                <c:pt idx="5">
                  <c:v>-9.9836918936208191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52373347168550743</c:v>
                </c:pt>
                <c:pt idx="1">
                  <c:v>0.10852888112070069</c:v>
                </c:pt>
                <c:pt idx="2">
                  <c:v>9.3963999902131043E-2</c:v>
                </c:pt>
                <c:pt idx="3">
                  <c:v>7.4909793649522008E-2</c:v>
                </c:pt>
                <c:pt idx="4">
                  <c:v>2.4235701196868683E-2</c:v>
                </c:pt>
                <c:pt idx="5">
                  <c:v>1.6144620862610648E-2</c:v>
                </c:pt>
                <c:pt idx="6">
                  <c:v>0.1584835315826594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strCache>
            </c:strRef>
          </c:cat>
          <c:val>
            <c:numRef>
              <c:f>Sheet1!$B$2:$B$7</c:f>
              <c:numCache>
                <c:formatCode>General</c:formatCode>
                <c:ptCount val="6"/>
                <c:pt idx="0">
                  <c:v>-6.1254214823056596E-3</c:v>
                </c:pt>
                <c:pt idx="1">
                  <c:v>-2.1815276979494314E-2</c:v>
                </c:pt>
                <c:pt idx="2">
                  <c:v>1.32622070638891E-2</c:v>
                </c:pt>
                <c:pt idx="3">
                  <c:v>3.404909932586353E-3</c:v>
                </c:pt>
                <c:pt idx="4">
                  <c:v>-2.870022864424903E-3</c:v>
                </c:pt>
                <c:pt idx="5">
                  <c:v>1.4143604329749426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11/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9/1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9/1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9/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9/1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9/1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9/1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9/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9/1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9/1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9/11/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0.xml.rels><?xml version="1.0" encoding="UTF-8" standalone="yes"?>
<Relationships xmlns="http://schemas.openxmlformats.org/package/2006/relationships"><Relationship Id="rId3" Type="http://schemas.openxmlformats.org/officeDocument/2006/relationships/chart" Target="../charts/chart46.xml"/><Relationship Id="rId7" Type="http://schemas.openxmlformats.org/officeDocument/2006/relationships/chart" Target="../charts/chart50.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chart" Target="../charts/chart49.xml"/><Relationship Id="rId5" Type="http://schemas.openxmlformats.org/officeDocument/2006/relationships/chart" Target="../charts/chart48.xml"/><Relationship Id="rId4" Type="http://schemas.openxmlformats.org/officeDocument/2006/relationships/chart" Target="../charts/chart47.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356.xml"/></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357.xml"/></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358.xml"/></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359.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360.xml"/></Relationships>
</file>

<file path=ppt/slides/_rels/slide11.xml.rels><?xml version="1.0" encoding="UTF-8" standalone="yes"?>
<Relationships xmlns="http://schemas.openxmlformats.org/package/2006/relationships"><Relationship Id="rId3" Type="http://schemas.openxmlformats.org/officeDocument/2006/relationships/chart" Target="../charts/chart51.xml"/><Relationship Id="rId7" Type="http://schemas.openxmlformats.org/officeDocument/2006/relationships/chart" Target="../charts/chart55.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chart" Target="../charts/chart54.xml"/><Relationship Id="rId5" Type="http://schemas.openxmlformats.org/officeDocument/2006/relationships/chart" Target="../charts/chart53.xml"/><Relationship Id="rId4" Type="http://schemas.openxmlformats.org/officeDocument/2006/relationships/chart" Target="../charts/chart52.xml"/></Relationships>
</file>

<file path=ppt/slides/_rels/slide12.xml.rels><?xml version="1.0" encoding="UTF-8" standalone="yes"?>
<Relationships xmlns="http://schemas.openxmlformats.org/package/2006/relationships"><Relationship Id="rId3" Type="http://schemas.openxmlformats.org/officeDocument/2006/relationships/chart" Target="../charts/chart56.xml"/><Relationship Id="rId7" Type="http://schemas.openxmlformats.org/officeDocument/2006/relationships/chart" Target="../charts/chart60.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chart" Target="../charts/chart57.xml"/></Relationships>
</file>

<file path=ppt/slides/_rels/slide13.xml.rels><?xml version="1.0" encoding="UTF-8" standalone="yes"?>
<Relationships xmlns="http://schemas.openxmlformats.org/package/2006/relationships"><Relationship Id="rId3" Type="http://schemas.openxmlformats.org/officeDocument/2006/relationships/chart" Target="../charts/chart61.xml"/><Relationship Id="rId7" Type="http://schemas.openxmlformats.org/officeDocument/2006/relationships/chart" Target="../charts/chart65.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chart" Target="../charts/chart64.xml"/><Relationship Id="rId5" Type="http://schemas.openxmlformats.org/officeDocument/2006/relationships/chart" Target="../charts/chart63.xml"/><Relationship Id="rId4" Type="http://schemas.openxmlformats.org/officeDocument/2006/relationships/chart" Target="../charts/chart62.xml"/></Relationships>
</file>

<file path=ppt/slides/_rels/slide14.xml.rels><?xml version="1.0" encoding="UTF-8" standalone="yes"?>
<Relationships xmlns="http://schemas.openxmlformats.org/package/2006/relationships"><Relationship Id="rId3" Type="http://schemas.openxmlformats.org/officeDocument/2006/relationships/chart" Target="../charts/chart66.xml"/><Relationship Id="rId7" Type="http://schemas.openxmlformats.org/officeDocument/2006/relationships/chart" Target="../charts/chart70.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chart" Target="../charts/chart69.xml"/><Relationship Id="rId5" Type="http://schemas.openxmlformats.org/officeDocument/2006/relationships/chart" Target="../charts/chart68.xml"/><Relationship Id="rId4" Type="http://schemas.openxmlformats.org/officeDocument/2006/relationships/chart" Target="../charts/chart67.xml"/></Relationships>
</file>

<file path=ppt/slides/_rels/slide15.xml.rels><?xml version="1.0" encoding="UTF-8" standalone="yes"?>
<Relationships xmlns="http://schemas.openxmlformats.org/package/2006/relationships"><Relationship Id="rId3" Type="http://schemas.openxmlformats.org/officeDocument/2006/relationships/chart" Target="../charts/chart71.xml"/><Relationship Id="rId7" Type="http://schemas.openxmlformats.org/officeDocument/2006/relationships/chart" Target="../charts/chart75.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chart" Target="../charts/chart72.xml"/></Relationships>
</file>

<file path=ppt/slides/_rels/slide16.xml.rels><?xml version="1.0" encoding="UTF-8" standalone="yes"?>
<Relationships xmlns="http://schemas.openxmlformats.org/package/2006/relationships"><Relationship Id="rId3" Type="http://schemas.openxmlformats.org/officeDocument/2006/relationships/chart" Target="../charts/chart76.xml"/><Relationship Id="rId7" Type="http://schemas.openxmlformats.org/officeDocument/2006/relationships/chart" Target="../charts/chart80.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chart" Target="../charts/chart79.xml"/><Relationship Id="rId5" Type="http://schemas.openxmlformats.org/officeDocument/2006/relationships/chart" Target="../charts/chart78.xml"/><Relationship Id="rId4" Type="http://schemas.openxmlformats.org/officeDocument/2006/relationships/chart" Target="../charts/chart77.xml"/></Relationships>
</file>

<file path=ppt/slides/_rels/slide17.xml.rels><?xml version="1.0" encoding="UTF-8" standalone="yes"?>
<Relationships xmlns="http://schemas.openxmlformats.org/package/2006/relationships"><Relationship Id="rId3" Type="http://schemas.openxmlformats.org/officeDocument/2006/relationships/chart" Target="../charts/chart81.xml"/><Relationship Id="rId7" Type="http://schemas.openxmlformats.org/officeDocument/2006/relationships/chart" Target="../charts/chart85.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chart" Target="../charts/chart84.xml"/><Relationship Id="rId5" Type="http://schemas.openxmlformats.org/officeDocument/2006/relationships/chart" Target="../charts/chart83.xml"/><Relationship Id="rId4" Type="http://schemas.openxmlformats.org/officeDocument/2006/relationships/chart" Target="../charts/chart82.xml"/></Relationships>
</file>

<file path=ppt/slides/_rels/slide18.xml.rels><?xml version="1.0" encoding="UTF-8" standalone="yes"?>
<Relationships xmlns="http://schemas.openxmlformats.org/package/2006/relationships"><Relationship Id="rId3" Type="http://schemas.openxmlformats.org/officeDocument/2006/relationships/chart" Target="../charts/chart86.xml"/><Relationship Id="rId7" Type="http://schemas.openxmlformats.org/officeDocument/2006/relationships/chart" Target="../charts/chart90.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chart" Target="../charts/chart87.xml"/></Relationships>
</file>

<file path=ppt/slides/_rels/slide19.xml.rels><?xml version="1.0" encoding="UTF-8" standalone="yes"?>
<Relationships xmlns="http://schemas.openxmlformats.org/package/2006/relationships"><Relationship Id="rId3" Type="http://schemas.openxmlformats.org/officeDocument/2006/relationships/chart" Target="../charts/chart91.xml"/><Relationship Id="rId7" Type="http://schemas.openxmlformats.org/officeDocument/2006/relationships/chart" Target="../charts/chart95.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chart" Target="../charts/chart94.xml"/><Relationship Id="rId5" Type="http://schemas.openxmlformats.org/officeDocument/2006/relationships/chart" Target="../charts/chart93.xml"/><Relationship Id="rId4" Type="http://schemas.openxmlformats.org/officeDocument/2006/relationships/chart" Target="../charts/chart92.xml"/></Relationships>
</file>

<file path=ppt/slides/_rels/slide2.xml.rels><?xml version="1.0" encoding="UTF-8" standalone="yes"?>
<Relationships xmlns="http://schemas.openxmlformats.org/package/2006/relationships"><Relationship Id="rId3" Type="http://schemas.openxmlformats.org/officeDocument/2006/relationships/chart" Target="../charts/chart6.xml"/><Relationship Id="rId7" Type="http://schemas.openxmlformats.org/officeDocument/2006/relationships/chart" Target="../charts/chart10.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20.xml.rels><?xml version="1.0" encoding="UTF-8" standalone="yes"?>
<Relationships xmlns="http://schemas.openxmlformats.org/package/2006/relationships"><Relationship Id="rId3" Type="http://schemas.openxmlformats.org/officeDocument/2006/relationships/chart" Target="../charts/chart96.xml"/><Relationship Id="rId7" Type="http://schemas.openxmlformats.org/officeDocument/2006/relationships/chart" Target="../charts/chart100.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chart" Target="../charts/chart99.xml"/><Relationship Id="rId5" Type="http://schemas.openxmlformats.org/officeDocument/2006/relationships/chart" Target="../charts/chart98.xml"/><Relationship Id="rId4" Type="http://schemas.openxmlformats.org/officeDocument/2006/relationships/chart" Target="../charts/chart97.xml"/></Relationships>
</file>

<file path=ppt/slides/_rels/slide21.xml.rels><?xml version="1.0" encoding="UTF-8" standalone="yes"?>
<Relationships xmlns="http://schemas.openxmlformats.org/package/2006/relationships"><Relationship Id="rId3" Type="http://schemas.openxmlformats.org/officeDocument/2006/relationships/chart" Target="../charts/chart101.xml"/><Relationship Id="rId7" Type="http://schemas.openxmlformats.org/officeDocument/2006/relationships/chart" Target="../charts/chart105.xm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chart" Target="../charts/chart102.xml"/></Relationships>
</file>

<file path=ppt/slides/_rels/slide22.xml.rels><?xml version="1.0" encoding="UTF-8" standalone="yes"?>
<Relationships xmlns="http://schemas.openxmlformats.org/package/2006/relationships"><Relationship Id="rId3" Type="http://schemas.openxmlformats.org/officeDocument/2006/relationships/chart" Target="../charts/chart106.xml"/><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chart" Target="../charts/chart107.xml"/></Relationships>
</file>

<file path=ppt/slides/_rels/slide23.xml.rels><?xml version="1.0" encoding="UTF-8" standalone="yes"?>
<Relationships xmlns="http://schemas.openxmlformats.org/package/2006/relationships"><Relationship Id="rId3" Type="http://schemas.openxmlformats.org/officeDocument/2006/relationships/chart" Target="../charts/chart108.xml"/><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chart" Target="../charts/chart109.xml"/></Relationships>
</file>

<file path=ppt/slides/_rels/slide24.xml.rels><?xml version="1.0" encoding="UTF-8" standalone="yes"?>
<Relationships xmlns="http://schemas.openxmlformats.org/package/2006/relationships"><Relationship Id="rId3" Type="http://schemas.openxmlformats.org/officeDocument/2006/relationships/chart" Target="../charts/chart110.xml"/><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chart" Target="../charts/chart111.xml"/></Relationships>
</file>

<file path=ppt/slides/_rels/slide25.xml.rels><?xml version="1.0" encoding="UTF-8" standalone="yes"?>
<Relationships xmlns="http://schemas.openxmlformats.org/package/2006/relationships"><Relationship Id="rId3" Type="http://schemas.openxmlformats.org/officeDocument/2006/relationships/chart" Target="../charts/chart112.xml"/><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chart" Target="../charts/chart113.xml"/></Relationships>
</file>

<file path=ppt/slides/_rels/slide26.xml.rels><?xml version="1.0" encoding="UTF-8" standalone="yes"?>
<Relationships xmlns="http://schemas.openxmlformats.org/package/2006/relationships"><Relationship Id="rId3" Type="http://schemas.openxmlformats.org/officeDocument/2006/relationships/chart" Target="../charts/chart114.xml"/><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chart" Target="../charts/chart115.xml"/></Relationships>
</file>

<file path=ppt/slides/_rels/slide27.xml.rels><?xml version="1.0" encoding="UTF-8" standalone="yes"?>
<Relationships xmlns="http://schemas.openxmlformats.org/package/2006/relationships"><Relationship Id="rId3" Type="http://schemas.openxmlformats.org/officeDocument/2006/relationships/chart" Target="../charts/chart116.xml"/><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chart" Target="../charts/chart117.xml"/></Relationships>
</file>

<file path=ppt/slides/_rels/slide28.xml.rels><?xml version="1.0" encoding="UTF-8" standalone="yes"?>
<Relationships xmlns="http://schemas.openxmlformats.org/package/2006/relationships"><Relationship Id="rId3" Type="http://schemas.openxmlformats.org/officeDocument/2006/relationships/chart" Target="../charts/chart118.xml"/><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chart" Target="../charts/chart119.xml"/></Relationships>
</file>

<file path=ppt/slides/_rels/slide29.xml.rels><?xml version="1.0" encoding="UTF-8" standalone="yes"?>
<Relationships xmlns="http://schemas.openxmlformats.org/package/2006/relationships"><Relationship Id="rId3" Type="http://schemas.openxmlformats.org/officeDocument/2006/relationships/chart" Target="../charts/chart120.xml"/><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chart" Target="../charts/chart121.xml"/></Relationships>
</file>

<file path=ppt/slides/_rels/slide3.xml.rels><?xml version="1.0" encoding="UTF-8" standalone="yes"?>
<Relationships xmlns="http://schemas.openxmlformats.org/package/2006/relationships"><Relationship Id="rId3" Type="http://schemas.openxmlformats.org/officeDocument/2006/relationships/chart" Target="../charts/chart11.xml"/><Relationship Id="rId7" Type="http://schemas.openxmlformats.org/officeDocument/2006/relationships/chart" Target="../charts/chart15.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30.xml.rels><?xml version="1.0" encoding="UTF-8" standalone="yes"?>
<Relationships xmlns="http://schemas.openxmlformats.org/package/2006/relationships"><Relationship Id="rId3" Type="http://schemas.openxmlformats.org/officeDocument/2006/relationships/chart" Target="../charts/chart122.xml"/><Relationship Id="rId2" Type="http://schemas.openxmlformats.org/officeDocument/2006/relationships/notesSlide" Target="../notesSlides/notesSlide30.xml"/><Relationship Id="rId1" Type="http://schemas.openxmlformats.org/officeDocument/2006/relationships/slideLayout" Target="../slideLayouts/slideLayout7.xml"/><Relationship Id="rId4" Type="http://schemas.openxmlformats.org/officeDocument/2006/relationships/chart" Target="../charts/chart123.xml"/></Relationships>
</file>

<file path=ppt/slides/_rels/slide31.xml.rels><?xml version="1.0" encoding="UTF-8" standalone="yes"?>
<Relationships xmlns="http://schemas.openxmlformats.org/package/2006/relationships"><Relationship Id="rId3" Type="http://schemas.openxmlformats.org/officeDocument/2006/relationships/chart" Target="../charts/chart124.xml"/><Relationship Id="rId2" Type="http://schemas.openxmlformats.org/officeDocument/2006/relationships/notesSlide" Target="../notesSlides/notesSlide31.xml"/><Relationship Id="rId1" Type="http://schemas.openxmlformats.org/officeDocument/2006/relationships/slideLayout" Target="../slideLayouts/slideLayout7.xml"/><Relationship Id="rId4" Type="http://schemas.openxmlformats.org/officeDocument/2006/relationships/chart" Target="../charts/chart125.xml"/></Relationships>
</file>

<file path=ppt/slides/_rels/slide32.xml.rels><?xml version="1.0" encoding="UTF-8" standalone="yes"?>
<Relationships xmlns="http://schemas.openxmlformats.org/package/2006/relationships"><Relationship Id="rId3" Type="http://schemas.openxmlformats.org/officeDocument/2006/relationships/chart" Target="../charts/chart126.xml"/><Relationship Id="rId2" Type="http://schemas.openxmlformats.org/officeDocument/2006/relationships/notesSlide" Target="../notesSlides/notesSlide32.xml"/><Relationship Id="rId1" Type="http://schemas.openxmlformats.org/officeDocument/2006/relationships/slideLayout" Target="../slideLayouts/slideLayout7.xml"/><Relationship Id="rId4" Type="http://schemas.openxmlformats.org/officeDocument/2006/relationships/chart" Target="../charts/chart127.xml"/></Relationships>
</file>

<file path=ppt/slides/_rels/slide33.xml.rels><?xml version="1.0" encoding="UTF-8" standalone="yes"?>
<Relationships xmlns="http://schemas.openxmlformats.org/package/2006/relationships"><Relationship Id="rId3" Type="http://schemas.openxmlformats.org/officeDocument/2006/relationships/chart" Target="../charts/chart128.xml"/><Relationship Id="rId2" Type="http://schemas.openxmlformats.org/officeDocument/2006/relationships/notesSlide" Target="../notesSlides/notesSlide33.xml"/><Relationship Id="rId1" Type="http://schemas.openxmlformats.org/officeDocument/2006/relationships/slideLayout" Target="../slideLayouts/slideLayout7.xml"/><Relationship Id="rId4" Type="http://schemas.openxmlformats.org/officeDocument/2006/relationships/chart" Target="../charts/chart129.xml"/></Relationships>
</file>

<file path=ppt/slides/_rels/slide34.xml.rels><?xml version="1.0" encoding="UTF-8" standalone="yes"?>
<Relationships xmlns="http://schemas.openxmlformats.org/package/2006/relationships"><Relationship Id="rId3" Type="http://schemas.openxmlformats.org/officeDocument/2006/relationships/chart" Target="../charts/chart130.xml"/><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chart" Target="../charts/chart131.xml"/></Relationships>
</file>

<file path=ppt/slides/_rels/slide35.xml.rels><?xml version="1.0" encoding="UTF-8" standalone="yes"?>
<Relationships xmlns="http://schemas.openxmlformats.org/package/2006/relationships"><Relationship Id="rId3" Type="http://schemas.openxmlformats.org/officeDocument/2006/relationships/chart" Target="../charts/chart132.xml"/><Relationship Id="rId2" Type="http://schemas.openxmlformats.org/officeDocument/2006/relationships/notesSlide" Target="../notesSlides/notesSlide35.xml"/><Relationship Id="rId1" Type="http://schemas.openxmlformats.org/officeDocument/2006/relationships/slideLayout" Target="../slideLayouts/slideLayout7.xml"/><Relationship Id="rId4" Type="http://schemas.openxmlformats.org/officeDocument/2006/relationships/chart" Target="../charts/chart133.xml"/></Relationships>
</file>

<file path=ppt/slides/_rels/slide36.xml.rels><?xml version="1.0" encoding="UTF-8" standalone="yes"?>
<Relationships xmlns="http://schemas.openxmlformats.org/package/2006/relationships"><Relationship Id="rId3" Type="http://schemas.openxmlformats.org/officeDocument/2006/relationships/chart" Target="../charts/chart134.xml"/><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chart" Target="../charts/chart136.xml"/><Relationship Id="rId4" Type="http://schemas.openxmlformats.org/officeDocument/2006/relationships/chart" Target="../charts/chart135.xml"/></Relationships>
</file>

<file path=ppt/slides/_rels/slide37.xml.rels><?xml version="1.0" encoding="UTF-8" standalone="yes"?>
<Relationships xmlns="http://schemas.openxmlformats.org/package/2006/relationships"><Relationship Id="rId3" Type="http://schemas.openxmlformats.org/officeDocument/2006/relationships/chart" Target="../charts/chart137.xml"/><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chart" Target="../charts/chart139.xml"/><Relationship Id="rId4" Type="http://schemas.openxmlformats.org/officeDocument/2006/relationships/chart" Target="../charts/chart138.xml"/></Relationships>
</file>

<file path=ppt/slides/_rels/slide38.xml.rels><?xml version="1.0" encoding="UTF-8" standalone="yes"?>
<Relationships xmlns="http://schemas.openxmlformats.org/package/2006/relationships"><Relationship Id="rId3" Type="http://schemas.openxmlformats.org/officeDocument/2006/relationships/chart" Target="../charts/chart140.xml"/><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chart" Target="../charts/chart142.xml"/><Relationship Id="rId4" Type="http://schemas.openxmlformats.org/officeDocument/2006/relationships/chart" Target="../charts/chart141.xml"/></Relationships>
</file>

<file path=ppt/slides/_rels/slide39.xml.rels><?xml version="1.0" encoding="UTF-8" standalone="yes"?>
<Relationships xmlns="http://schemas.openxmlformats.org/package/2006/relationships"><Relationship Id="rId3" Type="http://schemas.openxmlformats.org/officeDocument/2006/relationships/chart" Target="../charts/chart143.xml"/><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chart" Target="../charts/chart145.xml"/><Relationship Id="rId4" Type="http://schemas.openxmlformats.org/officeDocument/2006/relationships/chart" Target="../charts/chart144.xml"/></Relationships>
</file>

<file path=ppt/slides/_rels/slide4.xml.rels><?xml version="1.0" encoding="UTF-8" standalone="yes"?>
<Relationships xmlns="http://schemas.openxmlformats.org/package/2006/relationships"><Relationship Id="rId3" Type="http://schemas.openxmlformats.org/officeDocument/2006/relationships/chart" Target="../charts/chart16.xml"/><Relationship Id="rId7" Type="http://schemas.openxmlformats.org/officeDocument/2006/relationships/chart" Target="../charts/chart20.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chart" Target="../charts/chart17.xml"/></Relationships>
</file>

<file path=ppt/slides/_rels/slide40.xml.rels><?xml version="1.0" encoding="UTF-8" standalone="yes"?>
<Relationships xmlns="http://schemas.openxmlformats.org/package/2006/relationships"><Relationship Id="rId3" Type="http://schemas.openxmlformats.org/officeDocument/2006/relationships/chart" Target="../charts/chart146.xml"/><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chart" Target="../charts/chart148.xml"/><Relationship Id="rId4" Type="http://schemas.openxmlformats.org/officeDocument/2006/relationships/chart" Target="../charts/chart147.xml"/></Relationships>
</file>

<file path=ppt/slides/_rels/slide41.xml.rels><?xml version="1.0" encoding="UTF-8" standalone="yes"?>
<Relationships xmlns="http://schemas.openxmlformats.org/package/2006/relationships"><Relationship Id="rId3" Type="http://schemas.openxmlformats.org/officeDocument/2006/relationships/chart" Target="../charts/chart149.xml"/><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chart" Target="../charts/chart151.xml"/><Relationship Id="rId4" Type="http://schemas.openxmlformats.org/officeDocument/2006/relationships/chart" Target="../charts/chart150.xml"/></Relationships>
</file>

<file path=ppt/slides/_rels/slide42.xml.rels><?xml version="1.0" encoding="UTF-8" standalone="yes"?>
<Relationships xmlns="http://schemas.openxmlformats.org/package/2006/relationships"><Relationship Id="rId3" Type="http://schemas.openxmlformats.org/officeDocument/2006/relationships/chart" Target="../charts/chart152.xml"/><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chart" Target="../charts/chart154.xml"/><Relationship Id="rId4" Type="http://schemas.openxmlformats.org/officeDocument/2006/relationships/chart" Target="../charts/chart153.xml"/></Relationships>
</file>

<file path=ppt/slides/_rels/slide43.xml.rels><?xml version="1.0" encoding="UTF-8" standalone="yes"?>
<Relationships xmlns="http://schemas.openxmlformats.org/package/2006/relationships"><Relationship Id="rId3" Type="http://schemas.openxmlformats.org/officeDocument/2006/relationships/chart" Target="../charts/chart155.xml"/><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chart" Target="../charts/chart157.xml"/><Relationship Id="rId4" Type="http://schemas.openxmlformats.org/officeDocument/2006/relationships/chart" Target="../charts/chart156.xml"/></Relationships>
</file>

<file path=ppt/slides/_rels/slide44.xml.rels><?xml version="1.0" encoding="UTF-8" standalone="yes"?>
<Relationships xmlns="http://schemas.openxmlformats.org/package/2006/relationships"><Relationship Id="rId3" Type="http://schemas.openxmlformats.org/officeDocument/2006/relationships/chart" Target="../charts/chart158.xml"/><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chart" Target="../charts/chart160.xml"/><Relationship Id="rId4" Type="http://schemas.openxmlformats.org/officeDocument/2006/relationships/chart" Target="../charts/chart159.xml"/></Relationships>
</file>

<file path=ppt/slides/_rels/slide45.xml.rels><?xml version="1.0" encoding="UTF-8" standalone="yes"?>
<Relationships xmlns="http://schemas.openxmlformats.org/package/2006/relationships"><Relationship Id="rId3" Type="http://schemas.openxmlformats.org/officeDocument/2006/relationships/chart" Target="../charts/chart161.xml"/><Relationship Id="rId2" Type="http://schemas.openxmlformats.org/officeDocument/2006/relationships/notesSlide" Target="../notesSlides/notesSlide45.xml"/><Relationship Id="rId1" Type="http://schemas.openxmlformats.org/officeDocument/2006/relationships/slideLayout" Target="../slideLayouts/slideLayout7.xml"/><Relationship Id="rId5" Type="http://schemas.openxmlformats.org/officeDocument/2006/relationships/chart" Target="../charts/chart163.xml"/><Relationship Id="rId4" Type="http://schemas.openxmlformats.org/officeDocument/2006/relationships/chart" Target="../charts/chart162.xml"/></Relationships>
</file>

<file path=ppt/slides/_rels/slide46.xml.rels><?xml version="1.0" encoding="UTF-8" standalone="yes"?>
<Relationships xmlns="http://schemas.openxmlformats.org/package/2006/relationships"><Relationship Id="rId3" Type="http://schemas.openxmlformats.org/officeDocument/2006/relationships/chart" Target="../charts/chart164.xml"/><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chart" Target="../charts/chart166.xml"/><Relationship Id="rId4" Type="http://schemas.openxmlformats.org/officeDocument/2006/relationships/chart" Target="../charts/chart165.xml"/></Relationships>
</file>

<file path=ppt/slides/_rels/slide47.xml.rels><?xml version="1.0" encoding="UTF-8" standalone="yes"?>
<Relationships xmlns="http://schemas.openxmlformats.org/package/2006/relationships"><Relationship Id="rId3" Type="http://schemas.openxmlformats.org/officeDocument/2006/relationships/chart" Target="../charts/chart167.xml"/><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chart" Target="../charts/chart169.xml"/><Relationship Id="rId4" Type="http://schemas.openxmlformats.org/officeDocument/2006/relationships/chart" Target="../charts/chart168.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73.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1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chart" Target="../charts/chart21.xml"/><Relationship Id="rId7" Type="http://schemas.openxmlformats.org/officeDocument/2006/relationships/chart" Target="../charts/chart25.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chart" Target="../charts/chart2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chart" Target="../charts/chart175.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1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chart" Target="../charts/chart179.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181.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185.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chart" Target="../charts/chart18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7" Type="http://schemas.openxmlformats.org/officeDocument/2006/relationships/chart" Target="../charts/chart19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1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193.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chart" Target="../charts/chart26.xml"/><Relationship Id="rId7" Type="http://schemas.openxmlformats.org/officeDocument/2006/relationships/chart" Target="../charts/chart30.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chart" Target="../charts/chart27.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1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197.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7" Type="http://schemas.openxmlformats.org/officeDocument/2006/relationships/chart" Target="../charts/chart199.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2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7" Type="http://schemas.openxmlformats.org/officeDocument/2006/relationships/chart" Target="../charts/chart203.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2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205.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2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7" Type="http://schemas.openxmlformats.org/officeDocument/2006/relationships/chart" Target="../charts/chart209.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7" Type="http://schemas.openxmlformats.org/officeDocument/2006/relationships/chart" Target="../charts/chart21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2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chart" Target="../charts/chart31.xml"/><Relationship Id="rId7" Type="http://schemas.openxmlformats.org/officeDocument/2006/relationships/chart" Target="../charts/chart35.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chart" Target="../charts/chart32.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7" Type="http://schemas.openxmlformats.org/officeDocument/2006/relationships/chart" Target="../charts/chart215.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2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7" Type="http://schemas.openxmlformats.org/officeDocument/2006/relationships/chart" Target="../charts/chart217.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2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xml.rels><?xml version="1.0" encoding="UTF-8" standalone="yes"?>
<Relationships xmlns="http://schemas.openxmlformats.org/package/2006/relationships"><Relationship Id="rId8" Type="http://schemas.openxmlformats.org/officeDocument/2006/relationships/chart" Target="../charts/chart220.xml"/><Relationship Id="rId3" Type="http://schemas.openxmlformats.org/officeDocument/2006/relationships/notesSlide" Target="../notesSlides/notesSlide72.xml"/><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218.xml"/><Relationship Id="rId11" Type="http://schemas.openxmlformats.org/officeDocument/2006/relationships/chart" Target="../charts/chart223.xml"/><Relationship Id="rId5" Type="http://schemas.openxmlformats.org/officeDocument/2006/relationships/image" Target="../media/image28.emf"/><Relationship Id="rId10" Type="http://schemas.openxmlformats.org/officeDocument/2006/relationships/chart" Target="../charts/chart222.xml"/><Relationship Id="rId4" Type="http://schemas.openxmlformats.org/officeDocument/2006/relationships/oleObject" Target="../embeddings/oleObject27.bin"/><Relationship Id="rId9" Type="http://schemas.openxmlformats.org/officeDocument/2006/relationships/chart" Target="../charts/chart221.xml"/></Relationships>
</file>

<file path=ppt/slides/_rels/slide73.xml.rels><?xml version="1.0" encoding="UTF-8" standalone="yes"?>
<Relationships xmlns="http://schemas.openxmlformats.org/package/2006/relationships"><Relationship Id="rId8" Type="http://schemas.openxmlformats.org/officeDocument/2006/relationships/chart" Target="../charts/chart226.xml"/><Relationship Id="rId3" Type="http://schemas.openxmlformats.org/officeDocument/2006/relationships/notesSlide" Target="../notesSlides/notesSlide73.xml"/><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224.xml"/><Relationship Id="rId11" Type="http://schemas.openxmlformats.org/officeDocument/2006/relationships/chart" Target="../charts/chart229.xml"/><Relationship Id="rId5" Type="http://schemas.openxmlformats.org/officeDocument/2006/relationships/image" Target="../media/image28.emf"/><Relationship Id="rId10" Type="http://schemas.openxmlformats.org/officeDocument/2006/relationships/chart" Target="../charts/chart228.xml"/><Relationship Id="rId4" Type="http://schemas.openxmlformats.org/officeDocument/2006/relationships/oleObject" Target="../embeddings/oleObject27.bin"/><Relationship Id="rId9" Type="http://schemas.openxmlformats.org/officeDocument/2006/relationships/chart" Target="../charts/chart227.xml"/></Relationships>
</file>

<file path=ppt/slides/_rels/slide74.xml.rels><?xml version="1.0" encoding="UTF-8" standalone="yes"?>
<Relationships xmlns="http://schemas.openxmlformats.org/package/2006/relationships"><Relationship Id="rId8" Type="http://schemas.openxmlformats.org/officeDocument/2006/relationships/chart" Target="../charts/chart232.xml"/><Relationship Id="rId3" Type="http://schemas.openxmlformats.org/officeDocument/2006/relationships/notesSlide" Target="../notesSlides/notesSlide74.xml"/><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230.xml"/><Relationship Id="rId11" Type="http://schemas.openxmlformats.org/officeDocument/2006/relationships/chart" Target="../charts/chart235.xml"/><Relationship Id="rId5" Type="http://schemas.openxmlformats.org/officeDocument/2006/relationships/image" Target="../media/image28.emf"/><Relationship Id="rId10" Type="http://schemas.openxmlformats.org/officeDocument/2006/relationships/chart" Target="../charts/chart234.xml"/><Relationship Id="rId4" Type="http://schemas.openxmlformats.org/officeDocument/2006/relationships/oleObject" Target="../embeddings/oleObject27.bin"/><Relationship Id="rId9" Type="http://schemas.openxmlformats.org/officeDocument/2006/relationships/chart" Target="../charts/chart233.xml"/></Relationships>
</file>

<file path=ppt/slides/_rels/slide75.xml.rels><?xml version="1.0" encoding="UTF-8" standalone="yes"?>
<Relationships xmlns="http://schemas.openxmlformats.org/package/2006/relationships"><Relationship Id="rId8" Type="http://schemas.openxmlformats.org/officeDocument/2006/relationships/chart" Target="../charts/chart238.xml"/><Relationship Id="rId3" Type="http://schemas.openxmlformats.org/officeDocument/2006/relationships/notesSlide" Target="../notesSlides/notesSlide75.xml"/><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236.xml"/><Relationship Id="rId11" Type="http://schemas.openxmlformats.org/officeDocument/2006/relationships/chart" Target="../charts/chart241.xml"/><Relationship Id="rId5" Type="http://schemas.openxmlformats.org/officeDocument/2006/relationships/image" Target="../media/image28.emf"/><Relationship Id="rId10" Type="http://schemas.openxmlformats.org/officeDocument/2006/relationships/chart" Target="../charts/chart240.xml"/><Relationship Id="rId4" Type="http://schemas.openxmlformats.org/officeDocument/2006/relationships/oleObject" Target="../embeddings/oleObject27.bin"/><Relationship Id="rId9" Type="http://schemas.openxmlformats.org/officeDocument/2006/relationships/chart" Target="../charts/chart239.xml"/></Relationships>
</file>

<file path=ppt/slides/_rels/slide76.xml.rels><?xml version="1.0" encoding="UTF-8" standalone="yes"?>
<Relationships xmlns="http://schemas.openxmlformats.org/package/2006/relationships"><Relationship Id="rId8" Type="http://schemas.openxmlformats.org/officeDocument/2006/relationships/chart" Target="../charts/chart244.xml"/><Relationship Id="rId3" Type="http://schemas.openxmlformats.org/officeDocument/2006/relationships/notesSlide" Target="../notesSlides/notesSlide76.xml"/><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242.xml"/><Relationship Id="rId11" Type="http://schemas.openxmlformats.org/officeDocument/2006/relationships/chart" Target="../charts/chart247.xml"/><Relationship Id="rId5" Type="http://schemas.openxmlformats.org/officeDocument/2006/relationships/image" Target="../media/image28.emf"/><Relationship Id="rId10" Type="http://schemas.openxmlformats.org/officeDocument/2006/relationships/chart" Target="../charts/chart246.xml"/><Relationship Id="rId4" Type="http://schemas.openxmlformats.org/officeDocument/2006/relationships/oleObject" Target="../embeddings/oleObject27.bin"/><Relationship Id="rId9" Type="http://schemas.openxmlformats.org/officeDocument/2006/relationships/chart" Target="../charts/chart245.xml"/></Relationships>
</file>

<file path=ppt/slides/_rels/slide77.xml.rels><?xml version="1.0" encoding="UTF-8" standalone="yes"?>
<Relationships xmlns="http://schemas.openxmlformats.org/package/2006/relationships"><Relationship Id="rId8" Type="http://schemas.openxmlformats.org/officeDocument/2006/relationships/chart" Target="../charts/chart250.xml"/><Relationship Id="rId3" Type="http://schemas.openxmlformats.org/officeDocument/2006/relationships/notesSlide" Target="../notesSlides/notesSlide77.xml"/><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248.xml"/><Relationship Id="rId11" Type="http://schemas.openxmlformats.org/officeDocument/2006/relationships/chart" Target="../charts/chart253.xml"/><Relationship Id="rId5" Type="http://schemas.openxmlformats.org/officeDocument/2006/relationships/image" Target="../media/image28.emf"/><Relationship Id="rId10" Type="http://schemas.openxmlformats.org/officeDocument/2006/relationships/chart" Target="../charts/chart252.xml"/><Relationship Id="rId4" Type="http://schemas.openxmlformats.org/officeDocument/2006/relationships/oleObject" Target="../embeddings/oleObject27.bin"/><Relationship Id="rId9" Type="http://schemas.openxmlformats.org/officeDocument/2006/relationships/chart" Target="../charts/chart251.xml"/></Relationships>
</file>

<file path=ppt/slides/_rels/slide78.xml.rels><?xml version="1.0" encoding="UTF-8" standalone="yes"?>
<Relationships xmlns="http://schemas.openxmlformats.org/package/2006/relationships"><Relationship Id="rId8" Type="http://schemas.openxmlformats.org/officeDocument/2006/relationships/chart" Target="../charts/chart256.xml"/><Relationship Id="rId3" Type="http://schemas.openxmlformats.org/officeDocument/2006/relationships/notesSlide" Target="../notesSlides/notesSlide78.xml"/><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254.xml"/><Relationship Id="rId11" Type="http://schemas.openxmlformats.org/officeDocument/2006/relationships/chart" Target="../charts/chart259.xml"/><Relationship Id="rId5" Type="http://schemas.openxmlformats.org/officeDocument/2006/relationships/image" Target="../media/image28.emf"/><Relationship Id="rId10" Type="http://schemas.openxmlformats.org/officeDocument/2006/relationships/chart" Target="../charts/chart258.xml"/><Relationship Id="rId4" Type="http://schemas.openxmlformats.org/officeDocument/2006/relationships/oleObject" Target="../embeddings/oleObject27.bin"/><Relationship Id="rId9" Type="http://schemas.openxmlformats.org/officeDocument/2006/relationships/chart" Target="../charts/chart257.xml"/></Relationships>
</file>

<file path=ppt/slides/_rels/slide79.xml.rels><?xml version="1.0" encoding="UTF-8" standalone="yes"?>
<Relationships xmlns="http://schemas.openxmlformats.org/package/2006/relationships"><Relationship Id="rId8" Type="http://schemas.openxmlformats.org/officeDocument/2006/relationships/chart" Target="../charts/chart262.xml"/><Relationship Id="rId3" Type="http://schemas.openxmlformats.org/officeDocument/2006/relationships/notesSlide" Target="../notesSlides/notesSlide79.xml"/><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260.xml"/><Relationship Id="rId11" Type="http://schemas.openxmlformats.org/officeDocument/2006/relationships/chart" Target="../charts/chart265.xml"/><Relationship Id="rId5" Type="http://schemas.openxmlformats.org/officeDocument/2006/relationships/image" Target="../media/image28.emf"/><Relationship Id="rId10" Type="http://schemas.openxmlformats.org/officeDocument/2006/relationships/chart" Target="../charts/chart264.xml"/><Relationship Id="rId4" Type="http://schemas.openxmlformats.org/officeDocument/2006/relationships/oleObject" Target="../embeddings/oleObject27.bin"/><Relationship Id="rId9" Type="http://schemas.openxmlformats.org/officeDocument/2006/relationships/chart" Target="../charts/chart263.xml"/></Relationships>
</file>

<file path=ppt/slides/_rels/slide8.xml.rels><?xml version="1.0" encoding="UTF-8" standalone="yes"?>
<Relationships xmlns="http://schemas.openxmlformats.org/package/2006/relationships"><Relationship Id="rId3" Type="http://schemas.openxmlformats.org/officeDocument/2006/relationships/chart" Target="../charts/chart36.xml"/><Relationship Id="rId7" Type="http://schemas.openxmlformats.org/officeDocument/2006/relationships/chart" Target="../charts/chart40.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chart" Target="../charts/chart37.xml"/></Relationships>
</file>

<file path=ppt/slides/_rels/slide80.xml.rels><?xml version="1.0" encoding="UTF-8" standalone="yes"?>
<Relationships xmlns="http://schemas.openxmlformats.org/package/2006/relationships"><Relationship Id="rId8" Type="http://schemas.openxmlformats.org/officeDocument/2006/relationships/chart" Target="../charts/chart268.xml"/><Relationship Id="rId3" Type="http://schemas.openxmlformats.org/officeDocument/2006/relationships/notesSlide" Target="../notesSlides/notesSlide80.xml"/><Relationship Id="rId7" Type="http://schemas.openxmlformats.org/officeDocument/2006/relationships/chart" Target="../charts/chart267.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266.xml"/><Relationship Id="rId11" Type="http://schemas.openxmlformats.org/officeDocument/2006/relationships/chart" Target="../charts/chart271.xml"/><Relationship Id="rId5" Type="http://schemas.openxmlformats.org/officeDocument/2006/relationships/image" Target="../media/image28.emf"/><Relationship Id="rId10" Type="http://schemas.openxmlformats.org/officeDocument/2006/relationships/chart" Target="../charts/chart270.xml"/><Relationship Id="rId4" Type="http://schemas.openxmlformats.org/officeDocument/2006/relationships/oleObject" Target="../embeddings/oleObject27.bin"/><Relationship Id="rId9" Type="http://schemas.openxmlformats.org/officeDocument/2006/relationships/chart" Target="../charts/chart269.xml"/></Relationships>
</file>

<file path=ppt/slides/_rels/slide81.xml.rels><?xml version="1.0" encoding="UTF-8" standalone="yes"?>
<Relationships xmlns="http://schemas.openxmlformats.org/package/2006/relationships"><Relationship Id="rId8" Type="http://schemas.openxmlformats.org/officeDocument/2006/relationships/chart" Target="../charts/chart274.xml"/><Relationship Id="rId3" Type="http://schemas.openxmlformats.org/officeDocument/2006/relationships/notesSlide" Target="../notesSlides/notesSlide81.xml"/><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272.xml"/><Relationship Id="rId11" Type="http://schemas.openxmlformats.org/officeDocument/2006/relationships/chart" Target="../charts/chart277.xml"/><Relationship Id="rId5" Type="http://schemas.openxmlformats.org/officeDocument/2006/relationships/image" Target="../media/image28.emf"/><Relationship Id="rId10" Type="http://schemas.openxmlformats.org/officeDocument/2006/relationships/chart" Target="../charts/chart276.xml"/><Relationship Id="rId4" Type="http://schemas.openxmlformats.org/officeDocument/2006/relationships/oleObject" Target="../embeddings/oleObject27.bin"/><Relationship Id="rId9" Type="http://schemas.openxmlformats.org/officeDocument/2006/relationships/chart" Target="../charts/chart275.xml"/></Relationships>
</file>

<file path=ppt/slides/_rels/slide82.xml.rels><?xml version="1.0" encoding="UTF-8" standalone="yes"?>
<Relationships xmlns="http://schemas.openxmlformats.org/package/2006/relationships"><Relationship Id="rId8" Type="http://schemas.openxmlformats.org/officeDocument/2006/relationships/chart" Target="../charts/chart280.xml"/><Relationship Id="rId3" Type="http://schemas.openxmlformats.org/officeDocument/2006/relationships/notesSlide" Target="../notesSlides/notesSlide82.xml"/><Relationship Id="rId7"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278.xml"/><Relationship Id="rId11" Type="http://schemas.openxmlformats.org/officeDocument/2006/relationships/chart" Target="../charts/chart283.xml"/><Relationship Id="rId5" Type="http://schemas.openxmlformats.org/officeDocument/2006/relationships/image" Target="../media/image28.emf"/><Relationship Id="rId10" Type="http://schemas.openxmlformats.org/officeDocument/2006/relationships/chart" Target="../charts/chart282.xml"/><Relationship Id="rId4" Type="http://schemas.openxmlformats.org/officeDocument/2006/relationships/oleObject" Target="../embeddings/oleObject27.bin"/><Relationship Id="rId9" Type="http://schemas.openxmlformats.org/officeDocument/2006/relationships/chart" Target="../charts/chart281.xml"/></Relationships>
</file>

<file path=ppt/slides/_rels/slide83.xml.rels><?xml version="1.0" encoding="UTF-8" standalone="yes"?>
<Relationships xmlns="http://schemas.openxmlformats.org/package/2006/relationships"><Relationship Id="rId8" Type="http://schemas.openxmlformats.org/officeDocument/2006/relationships/chart" Target="../charts/chart286.xml"/><Relationship Id="rId3" Type="http://schemas.openxmlformats.org/officeDocument/2006/relationships/notesSlide" Target="../notesSlides/notesSlide83.xml"/><Relationship Id="rId7" Type="http://schemas.openxmlformats.org/officeDocument/2006/relationships/chart" Target="../charts/chart285.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284.xml"/><Relationship Id="rId11" Type="http://schemas.openxmlformats.org/officeDocument/2006/relationships/chart" Target="../charts/chart289.xml"/><Relationship Id="rId5" Type="http://schemas.openxmlformats.org/officeDocument/2006/relationships/image" Target="../media/image28.emf"/><Relationship Id="rId10" Type="http://schemas.openxmlformats.org/officeDocument/2006/relationships/chart" Target="../charts/chart288.xml"/><Relationship Id="rId4" Type="http://schemas.openxmlformats.org/officeDocument/2006/relationships/oleObject" Target="../embeddings/oleObject27.bin"/><Relationship Id="rId9" Type="http://schemas.openxmlformats.org/officeDocument/2006/relationships/chart" Target="../charts/chart287.xml"/></Relationships>
</file>

<file path=ppt/slides/_rels/slide84.xml.rels><?xml version="1.0" encoding="UTF-8" standalone="yes"?>
<Relationships xmlns="http://schemas.openxmlformats.org/package/2006/relationships"><Relationship Id="rId8" Type="http://schemas.openxmlformats.org/officeDocument/2006/relationships/chart" Target="../charts/chart292.xml"/><Relationship Id="rId3" Type="http://schemas.openxmlformats.org/officeDocument/2006/relationships/notesSlide" Target="../notesSlides/notesSlide84.xml"/><Relationship Id="rId7" Type="http://schemas.openxmlformats.org/officeDocument/2006/relationships/chart" Target="../charts/chart29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290.xml"/><Relationship Id="rId11" Type="http://schemas.openxmlformats.org/officeDocument/2006/relationships/chart" Target="../charts/chart295.xml"/><Relationship Id="rId5" Type="http://schemas.openxmlformats.org/officeDocument/2006/relationships/image" Target="../media/image28.emf"/><Relationship Id="rId10" Type="http://schemas.openxmlformats.org/officeDocument/2006/relationships/chart" Target="../charts/chart294.xml"/><Relationship Id="rId4" Type="http://schemas.openxmlformats.org/officeDocument/2006/relationships/oleObject" Target="../embeddings/oleObject27.bin"/><Relationship Id="rId9" Type="http://schemas.openxmlformats.org/officeDocument/2006/relationships/chart" Target="../charts/chart293.xml"/></Relationships>
</file>

<file path=ppt/slides/_rels/slide85.xml.rels><?xml version="1.0" encoding="UTF-8" standalone="yes"?>
<Relationships xmlns="http://schemas.openxmlformats.org/package/2006/relationships"><Relationship Id="rId8" Type="http://schemas.openxmlformats.org/officeDocument/2006/relationships/chart" Target="../charts/chart298.xml"/><Relationship Id="rId3" Type="http://schemas.openxmlformats.org/officeDocument/2006/relationships/notesSlide" Target="../notesSlides/notesSlide85.xml"/><Relationship Id="rId7" Type="http://schemas.openxmlformats.org/officeDocument/2006/relationships/chart" Target="../charts/chart297.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296.xml"/><Relationship Id="rId11" Type="http://schemas.openxmlformats.org/officeDocument/2006/relationships/chart" Target="../charts/chart301.xml"/><Relationship Id="rId5" Type="http://schemas.openxmlformats.org/officeDocument/2006/relationships/image" Target="../media/image28.emf"/><Relationship Id="rId10" Type="http://schemas.openxmlformats.org/officeDocument/2006/relationships/chart" Target="../charts/chart300.xml"/><Relationship Id="rId4" Type="http://schemas.openxmlformats.org/officeDocument/2006/relationships/oleObject" Target="../embeddings/oleObject27.bin"/><Relationship Id="rId9" Type="http://schemas.openxmlformats.org/officeDocument/2006/relationships/chart" Target="../charts/chart299.xml"/></Relationships>
</file>

<file path=ppt/slides/_rels/slide86.xml.rels><?xml version="1.0" encoding="UTF-8" standalone="yes"?>
<Relationships xmlns="http://schemas.openxmlformats.org/package/2006/relationships"><Relationship Id="rId8" Type="http://schemas.openxmlformats.org/officeDocument/2006/relationships/chart" Target="../charts/chart304.xml"/><Relationship Id="rId3" Type="http://schemas.openxmlformats.org/officeDocument/2006/relationships/notesSlide" Target="../notesSlides/notesSlide86.xml"/><Relationship Id="rId7" Type="http://schemas.openxmlformats.org/officeDocument/2006/relationships/chart" Target="../charts/chart303.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302.xml"/><Relationship Id="rId11" Type="http://schemas.openxmlformats.org/officeDocument/2006/relationships/chart" Target="../charts/chart307.xml"/><Relationship Id="rId5" Type="http://schemas.openxmlformats.org/officeDocument/2006/relationships/image" Target="../media/image28.emf"/><Relationship Id="rId10" Type="http://schemas.openxmlformats.org/officeDocument/2006/relationships/chart" Target="../charts/chart306.xml"/><Relationship Id="rId4" Type="http://schemas.openxmlformats.org/officeDocument/2006/relationships/oleObject" Target="../embeddings/oleObject27.bin"/><Relationship Id="rId9" Type="http://schemas.openxmlformats.org/officeDocument/2006/relationships/chart" Target="../charts/chart305.xml"/></Relationships>
</file>

<file path=ppt/slides/_rels/slide87.xml.rels><?xml version="1.0" encoding="UTF-8" standalone="yes"?>
<Relationships xmlns="http://schemas.openxmlformats.org/package/2006/relationships"><Relationship Id="rId8" Type="http://schemas.openxmlformats.org/officeDocument/2006/relationships/chart" Target="../charts/chart310.xml"/><Relationship Id="rId3" Type="http://schemas.openxmlformats.org/officeDocument/2006/relationships/notesSlide" Target="../notesSlides/notesSlide87.xml"/><Relationship Id="rId7" Type="http://schemas.openxmlformats.org/officeDocument/2006/relationships/chart" Target="../charts/chart309.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308.xml"/><Relationship Id="rId11" Type="http://schemas.openxmlformats.org/officeDocument/2006/relationships/chart" Target="../charts/chart313.xml"/><Relationship Id="rId5" Type="http://schemas.openxmlformats.org/officeDocument/2006/relationships/image" Target="../media/image28.emf"/><Relationship Id="rId10" Type="http://schemas.openxmlformats.org/officeDocument/2006/relationships/chart" Target="../charts/chart312.xml"/><Relationship Id="rId4" Type="http://schemas.openxmlformats.org/officeDocument/2006/relationships/oleObject" Target="../embeddings/oleObject27.bin"/><Relationship Id="rId9" Type="http://schemas.openxmlformats.org/officeDocument/2006/relationships/chart" Target="../charts/chart311.xml"/></Relationships>
</file>

<file path=ppt/slides/_rels/slide88.xml.rels><?xml version="1.0" encoding="UTF-8" standalone="yes"?>
<Relationships xmlns="http://schemas.openxmlformats.org/package/2006/relationships"><Relationship Id="rId8" Type="http://schemas.openxmlformats.org/officeDocument/2006/relationships/chart" Target="../charts/chart316.xml"/><Relationship Id="rId3" Type="http://schemas.openxmlformats.org/officeDocument/2006/relationships/notesSlide" Target="../notesSlides/notesSlide88.xml"/><Relationship Id="rId7" Type="http://schemas.openxmlformats.org/officeDocument/2006/relationships/chart" Target="../charts/chart315.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314.xml"/><Relationship Id="rId11" Type="http://schemas.openxmlformats.org/officeDocument/2006/relationships/chart" Target="../charts/chart319.xml"/><Relationship Id="rId5" Type="http://schemas.openxmlformats.org/officeDocument/2006/relationships/image" Target="../media/image28.emf"/><Relationship Id="rId10" Type="http://schemas.openxmlformats.org/officeDocument/2006/relationships/chart" Target="../charts/chart318.xml"/><Relationship Id="rId4" Type="http://schemas.openxmlformats.org/officeDocument/2006/relationships/oleObject" Target="../embeddings/oleObject27.bin"/><Relationship Id="rId9" Type="http://schemas.openxmlformats.org/officeDocument/2006/relationships/chart" Target="../charts/chart317.xml"/></Relationships>
</file>

<file path=ppt/slides/_rels/slide89.xml.rels><?xml version="1.0" encoding="UTF-8" standalone="yes"?>
<Relationships xmlns="http://schemas.openxmlformats.org/package/2006/relationships"><Relationship Id="rId8" Type="http://schemas.openxmlformats.org/officeDocument/2006/relationships/chart" Target="../charts/chart322.xml"/><Relationship Id="rId3" Type="http://schemas.openxmlformats.org/officeDocument/2006/relationships/notesSlide" Target="../notesSlides/notesSlide89.xml"/><Relationship Id="rId7" Type="http://schemas.openxmlformats.org/officeDocument/2006/relationships/chart" Target="../charts/chart321.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320.xml"/><Relationship Id="rId11" Type="http://schemas.openxmlformats.org/officeDocument/2006/relationships/chart" Target="../charts/chart325.xml"/><Relationship Id="rId5" Type="http://schemas.openxmlformats.org/officeDocument/2006/relationships/image" Target="../media/image28.emf"/><Relationship Id="rId10" Type="http://schemas.openxmlformats.org/officeDocument/2006/relationships/chart" Target="../charts/chart324.xml"/><Relationship Id="rId4" Type="http://schemas.openxmlformats.org/officeDocument/2006/relationships/oleObject" Target="../embeddings/oleObject27.bin"/><Relationship Id="rId9" Type="http://schemas.openxmlformats.org/officeDocument/2006/relationships/chart" Target="../charts/chart323.xml"/></Relationships>
</file>

<file path=ppt/slides/_rels/slide9.xml.rels><?xml version="1.0" encoding="UTF-8" standalone="yes"?>
<Relationships xmlns="http://schemas.openxmlformats.org/package/2006/relationships"><Relationship Id="rId3" Type="http://schemas.openxmlformats.org/officeDocument/2006/relationships/chart" Target="../charts/chart41.xml"/><Relationship Id="rId7" Type="http://schemas.openxmlformats.org/officeDocument/2006/relationships/chart" Target="../charts/chart45.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chart" Target="../charts/chart42.xml"/></Relationships>
</file>

<file path=ppt/slides/_rels/slide90.xml.rels><?xml version="1.0" encoding="UTF-8" standalone="yes"?>
<Relationships xmlns="http://schemas.openxmlformats.org/package/2006/relationships"><Relationship Id="rId8" Type="http://schemas.openxmlformats.org/officeDocument/2006/relationships/chart" Target="../charts/chart328.xml"/><Relationship Id="rId3" Type="http://schemas.openxmlformats.org/officeDocument/2006/relationships/notesSlide" Target="../notesSlides/notesSlide90.xml"/><Relationship Id="rId7" Type="http://schemas.openxmlformats.org/officeDocument/2006/relationships/chart" Target="../charts/chart327.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326.xml"/><Relationship Id="rId11" Type="http://schemas.openxmlformats.org/officeDocument/2006/relationships/chart" Target="../charts/chart331.xml"/><Relationship Id="rId5" Type="http://schemas.openxmlformats.org/officeDocument/2006/relationships/image" Target="../media/image28.emf"/><Relationship Id="rId10" Type="http://schemas.openxmlformats.org/officeDocument/2006/relationships/chart" Target="../charts/chart330.xml"/><Relationship Id="rId4" Type="http://schemas.openxmlformats.org/officeDocument/2006/relationships/oleObject" Target="../embeddings/oleObject27.bin"/><Relationship Id="rId9" Type="http://schemas.openxmlformats.org/officeDocument/2006/relationships/chart" Target="../charts/chart329.xml"/></Relationships>
</file>

<file path=ppt/slides/_rels/slide91.xml.rels><?xml version="1.0" encoding="UTF-8" standalone="yes"?>
<Relationships xmlns="http://schemas.openxmlformats.org/package/2006/relationships"><Relationship Id="rId8" Type="http://schemas.openxmlformats.org/officeDocument/2006/relationships/chart" Target="../charts/chart334.xml"/><Relationship Id="rId3" Type="http://schemas.openxmlformats.org/officeDocument/2006/relationships/notesSlide" Target="../notesSlides/notesSlide91.xml"/><Relationship Id="rId7" Type="http://schemas.openxmlformats.org/officeDocument/2006/relationships/chart" Target="../charts/chart333.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332.xml"/><Relationship Id="rId11" Type="http://schemas.openxmlformats.org/officeDocument/2006/relationships/chart" Target="../charts/chart337.xml"/><Relationship Id="rId5" Type="http://schemas.openxmlformats.org/officeDocument/2006/relationships/image" Target="../media/image28.emf"/><Relationship Id="rId10" Type="http://schemas.openxmlformats.org/officeDocument/2006/relationships/chart" Target="../charts/chart336.xml"/><Relationship Id="rId4" Type="http://schemas.openxmlformats.org/officeDocument/2006/relationships/oleObject" Target="../embeddings/oleObject27.bin"/><Relationship Id="rId9" Type="http://schemas.openxmlformats.org/officeDocument/2006/relationships/chart" Target="../charts/chart335.xml"/></Relationships>
</file>

<file path=ppt/slides/_rels/slide92.xml.rels><?xml version="1.0" encoding="UTF-8" standalone="yes"?>
<Relationships xmlns="http://schemas.openxmlformats.org/package/2006/relationships"><Relationship Id="rId8" Type="http://schemas.openxmlformats.org/officeDocument/2006/relationships/chart" Target="../charts/chart340.xml"/><Relationship Id="rId3" Type="http://schemas.openxmlformats.org/officeDocument/2006/relationships/notesSlide" Target="../notesSlides/notesSlide92.xml"/><Relationship Id="rId7" Type="http://schemas.openxmlformats.org/officeDocument/2006/relationships/chart" Target="../charts/chart339.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338.xml"/><Relationship Id="rId11" Type="http://schemas.openxmlformats.org/officeDocument/2006/relationships/chart" Target="../charts/chart343.xml"/><Relationship Id="rId5" Type="http://schemas.openxmlformats.org/officeDocument/2006/relationships/image" Target="../media/image28.emf"/><Relationship Id="rId10" Type="http://schemas.openxmlformats.org/officeDocument/2006/relationships/chart" Target="../charts/chart342.xml"/><Relationship Id="rId4" Type="http://schemas.openxmlformats.org/officeDocument/2006/relationships/oleObject" Target="../embeddings/oleObject27.bin"/><Relationship Id="rId9" Type="http://schemas.openxmlformats.org/officeDocument/2006/relationships/chart" Target="../charts/chart341.xml"/></Relationships>
</file>

<file path=ppt/slides/_rels/slide93.xml.rels><?xml version="1.0" encoding="UTF-8" standalone="yes"?>
<Relationships xmlns="http://schemas.openxmlformats.org/package/2006/relationships"><Relationship Id="rId8" Type="http://schemas.openxmlformats.org/officeDocument/2006/relationships/chart" Target="../charts/chart346.xml"/><Relationship Id="rId3" Type="http://schemas.openxmlformats.org/officeDocument/2006/relationships/notesSlide" Target="../notesSlides/notesSlide93.xml"/><Relationship Id="rId7" Type="http://schemas.openxmlformats.org/officeDocument/2006/relationships/chart" Target="../charts/chart345.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344.xml"/><Relationship Id="rId11" Type="http://schemas.openxmlformats.org/officeDocument/2006/relationships/chart" Target="../charts/chart349.xml"/><Relationship Id="rId5" Type="http://schemas.openxmlformats.org/officeDocument/2006/relationships/image" Target="../media/image28.emf"/><Relationship Id="rId10" Type="http://schemas.openxmlformats.org/officeDocument/2006/relationships/chart" Target="../charts/chart348.xml"/><Relationship Id="rId4" Type="http://schemas.openxmlformats.org/officeDocument/2006/relationships/oleObject" Target="../embeddings/oleObject27.bin"/><Relationship Id="rId9" Type="http://schemas.openxmlformats.org/officeDocument/2006/relationships/chart" Target="../charts/chart347.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350.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351.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352.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353.xml"/></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354.xml"/></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3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Euri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Total Fromage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1755053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Les Mousquetai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Millere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Ingredient A Chaud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Ragu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217422596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720052461"/>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Salade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58974">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Private Label/Carrefour</a:t>
                      </a:r>
                    </a:p>
                  </a:txBody>
                  <a:tcPr marL="36000" marR="36000" marT="4763" marB="0" anchor="ctr">
                    <a:solidFill>
                      <a:srgbClr val="F2F2F2"/>
                    </a:solidFill>
                  </a:tcPr>
                </a:tc>
                <a:extLst>
                  <a:ext uri="{0D108BD9-81ED-4DB2-BD59-A6C34878D82A}">
                    <a16:rowId xmlns:a16="http://schemas.microsoft.com/office/drawing/2014/main" val="264026324"/>
                  </a:ext>
                </a:extLst>
              </a:tr>
              <a:tr h="358974">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Intermarche</a:t>
                      </a:r>
                    </a:p>
                  </a:txBody>
                  <a:tcPr marL="36000" marR="36000" marT="4763" marB="0" anchor="ctr">
                    <a:solidFill>
                      <a:srgbClr val="FFBFBF"/>
                    </a:solidFill>
                  </a:tcPr>
                </a:tc>
                <a:extLst>
                  <a:ext uri="{0D108BD9-81ED-4DB2-BD59-A6C34878D82A}">
                    <a16:rowId xmlns:a16="http://schemas.microsoft.com/office/drawing/2014/main" val="613793393"/>
                  </a:ext>
                </a:extLst>
              </a:tr>
              <a:tr h="358974">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Carrefour</a:t>
                      </a:r>
                    </a:p>
                  </a:txBody>
                  <a:tcPr marL="36000" marR="36000" marT="4763" marB="0" anchor="ctr">
                    <a:solidFill>
                      <a:srgbClr val="CBEAE7"/>
                    </a:solidFill>
                  </a:tcPr>
                </a:tc>
                <a:extLst>
                  <a:ext uri="{0D108BD9-81ED-4DB2-BD59-A6C34878D82A}">
                    <a16:rowId xmlns:a16="http://schemas.microsoft.com/office/drawing/2014/main" val="4246246309"/>
                  </a:ext>
                </a:extLst>
              </a:tr>
              <a:tr h="358974">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Galbani/Intermarche</a:t>
                      </a:r>
                    </a:p>
                  </a:txBody>
                  <a:tcPr marL="36000" marR="36000" marT="4763" marB="0" anchor="ctr">
                    <a:solidFill>
                      <a:srgbClr val="CBEAE7"/>
                    </a:solidFill>
                  </a:tcPr>
                </a:tc>
                <a:extLst>
                  <a:ext uri="{0D108BD9-81ED-4DB2-BD59-A6C34878D82A}">
                    <a16:rowId xmlns:a16="http://schemas.microsoft.com/office/drawing/2014/main" val="418503086"/>
                  </a:ext>
                </a:extLst>
              </a:tr>
              <a:tr h="358974">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Galbani/Carrefour</a:t>
                      </a:r>
                    </a:p>
                  </a:txBody>
                  <a:tcPr marL="36000" marR="36000" marT="4763" marB="0" anchor="ctr">
                    <a:solidFill>
                      <a:srgbClr val="FFBFBF"/>
                    </a:solidFill>
                  </a:tcPr>
                </a:tc>
                <a:extLst>
                  <a:ext uri="{0D108BD9-81ED-4DB2-BD59-A6C34878D82A}">
                    <a16:rowId xmlns:a16="http://schemas.microsoft.com/office/drawing/2014/main" val="381854689"/>
                  </a:ext>
                </a:extLst>
              </a:tr>
              <a:tr h="358974">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Casa Azzurra/Carrefour</a:t>
                      </a:r>
                    </a:p>
                  </a:txBody>
                  <a:tcPr marL="36000" marR="36000" marT="4763" marB="0" anchor="ctr">
                    <a:solidFill>
                      <a:srgbClr val="CBEAE7"/>
                    </a:solidFill>
                  </a:tcPr>
                </a:tc>
                <a:extLst>
                  <a:ext uri="{0D108BD9-81ED-4DB2-BD59-A6C34878D82A}">
                    <a16:rowId xmlns:a16="http://schemas.microsoft.com/office/drawing/2014/main" val="362768916"/>
                  </a:ext>
                </a:extLst>
              </a:tr>
              <a:tr h="358974">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Casa Azzurra/Intermarche</a:t>
                      </a:r>
                    </a:p>
                  </a:txBody>
                  <a:tcPr marL="36000" marR="36000" marT="4763" marB="0" anchor="ctr">
                    <a:solidFill>
                      <a:srgbClr val="F2F2F2"/>
                    </a:solidFill>
                  </a:tcPr>
                </a:tc>
                <a:extLst>
                  <a:ext uri="{0D108BD9-81ED-4DB2-BD59-A6C34878D82A}">
                    <a16:rowId xmlns:a16="http://schemas.microsoft.com/office/drawing/2014/main" val="1139766948"/>
                  </a:ext>
                </a:extLst>
              </a:tr>
              <a:tr h="358974">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Intermarche</a:t>
                      </a:r>
                    </a:p>
                  </a:txBody>
                  <a:tcPr marL="36000" marR="36000" marT="4763" marB="0" anchor="ctr">
                    <a:solidFill>
                      <a:srgbClr val="CBEAE7"/>
                    </a:solidFill>
                  </a:tcPr>
                </a:tc>
                <a:extLst>
                  <a:ext uri="{0D108BD9-81ED-4DB2-BD59-A6C34878D82A}">
                    <a16:rowId xmlns:a16="http://schemas.microsoft.com/office/drawing/2014/main" val="1687090376"/>
                  </a:ext>
                </a:extLst>
              </a:tr>
              <a:tr h="358974">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Boursin/Carrefour</a:t>
                      </a:r>
                    </a:p>
                  </a:txBody>
                  <a:tcPr marL="36000" marR="36000" marT="4763" marB="0" anchor="ctr">
                    <a:solidFill>
                      <a:srgbClr val="FFBFBF"/>
                    </a:solidFill>
                  </a:tcPr>
                </a:tc>
                <a:extLst>
                  <a:ext uri="{0D108BD9-81ED-4DB2-BD59-A6C34878D82A}">
                    <a16:rowId xmlns:a16="http://schemas.microsoft.com/office/drawing/2014/main" val="1182192680"/>
                  </a:ext>
                </a:extLst>
              </a:tr>
              <a:tr h="358974">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Boursin/Intermarche</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11/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9490326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4023537"/>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Total Fromage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29"/>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76133">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Carrefour/Soft Cheese/Salade</a:t>
                      </a:r>
                    </a:p>
                  </a:txBody>
                  <a:tcPr marL="36000" marR="36000" marT="4763" marB="0" anchor="ctr">
                    <a:solidFill>
                      <a:srgbClr val="CBEAE7"/>
                    </a:solidFill>
                  </a:tcPr>
                </a:tc>
                <a:extLst>
                  <a:ext uri="{0D108BD9-81ED-4DB2-BD59-A6C34878D82A}">
                    <a16:rowId xmlns:a16="http://schemas.microsoft.com/office/drawing/2014/main" val="3518559538"/>
                  </a:ext>
                </a:extLst>
              </a:tr>
              <a:tr h="276133">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Intermarche/Soft Cheese/Salade</a:t>
                      </a:r>
                    </a:p>
                  </a:txBody>
                  <a:tcPr marL="36000" marR="36000" marT="4763" marB="0" anchor="ctr">
                    <a:solidFill>
                      <a:srgbClr val="CBEAE7"/>
                    </a:solidFill>
                  </a:tcPr>
                </a:tc>
                <a:extLst>
                  <a:ext uri="{0D108BD9-81ED-4DB2-BD59-A6C34878D82A}">
                    <a16:rowId xmlns:a16="http://schemas.microsoft.com/office/drawing/2014/main" val="3886752891"/>
                  </a:ext>
                </a:extLst>
              </a:tr>
              <a:tr h="276133">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Carrefour/Soft Cheese/Enfant</a:t>
                      </a:r>
                    </a:p>
                  </a:txBody>
                  <a:tcPr marL="36000" marR="36000" marT="4763" marB="0" anchor="ctr">
                    <a:solidFill>
                      <a:srgbClr val="CBEAE7"/>
                    </a:solidFill>
                  </a:tcPr>
                </a:tc>
                <a:extLst>
                  <a:ext uri="{0D108BD9-81ED-4DB2-BD59-A6C34878D82A}">
                    <a16:rowId xmlns:a16="http://schemas.microsoft.com/office/drawing/2014/main" val="3477306869"/>
                  </a:ext>
                </a:extLst>
              </a:tr>
              <a:tr h="276133">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Intermarche/Soft Cheese/Enfant</a:t>
                      </a:r>
                    </a:p>
                  </a:txBody>
                  <a:tcPr marL="36000" marR="36000" marT="4763" marB="0" anchor="ctr">
                    <a:solidFill>
                      <a:srgbClr val="CBEAE7"/>
                    </a:solidFill>
                  </a:tcPr>
                </a:tc>
                <a:extLst>
                  <a:ext uri="{0D108BD9-81ED-4DB2-BD59-A6C34878D82A}">
                    <a16:rowId xmlns:a16="http://schemas.microsoft.com/office/drawing/2014/main" val="264026324"/>
                  </a:ext>
                </a:extLst>
              </a:tr>
              <a:tr h="276133">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Kiri/Carrefour/Soft Cheese/Enfant</a:t>
                      </a:r>
                    </a:p>
                  </a:txBody>
                  <a:tcPr marL="36000" marR="36000" marT="4763" marB="0" anchor="ctr">
                    <a:solidFill>
                      <a:srgbClr val="CBEAE7"/>
                    </a:solidFill>
                  </a:tcPr>
                </a:tc>
                <a:extLst>
                  <a:ext uri="{0D108BD9-81ED-4DB2-BD59-A6C34878D82A}">
                    <a16:rowId xmlns:a16="http://schemas.microsoft.com/office/drawing/2014/main" val="613793393"/>
                  </a:ext>
                </a:extLst>
              </a:tr>
              <a:tr h="276133">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Kiri/Intermarche/Soft Cheese/Enfant</a:t>
                      </a:r>
                    </a:p>
                  </a:txBody>
                  <a:tcPr marL="36000" marR="36000" marT="4763" marB="0" anchor="ctr">
                    <a:solidFill>
                      <a:srgbClr val="CBEAE7"/>
                    </a:solidFill>
                  </a:tcPr>
                </a:tc>
                <a:extLst>
                  <a:ext uri="{0D108BD9-81ED-4DB2-BD59-A6C34878D82A}">
                    <a16:rowId xmlns:a16="http://schemas.microsoft.com/office/drawing/2014/main" val="4246246309"/>
                  </a:ext>
                </a:extLst>
              </a:tr>
              <a:tr h="276133">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Boursin/Intermarche/Soft Cheese/Frais A Tartiner</a:t>
                      </a:r>
                    </a:p>
                  </a:txBody>
                  <a:tcPr marL="36000" marR="36000" marT="4763" marB="0" anchor="ctr">
                    <a:solidFill>
                      <a:srgbClr val="F2F2F2"/>
                    </a:solidFill>
                  </a:tcPr>
                </a:tc>
                <a:extLst>
                  <a:ext uri="{0D108BD9-81ED-4DB2-BD59-A6C34878D82A}">
                    <a16:rowId xmlns:a16="http://schemas.microsoft.com/office/drawing/2014/main" val="418503086"/>
                  </a:ext>
                </a:extLst>
              </a:tr>
              <a:tr h="276133">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Boursin/Carrefour/Soft Cheese/Frais A Tartiner</a:t>
                      </a:r>
                    </a:p>
                  </a:txBody>
                  <a:tcPr marL="36000" marR="36000" marT="4763" marB="0" anchor="ctr">
                    <a:solidFill>
                      <a:srgbClr val="CBEAE7"/>
                    </a:solidFill>
                  </a:tcPr>
                </a:tc>
                <a:extLst>
                  <a:ext uri="{0D108BD9-81ED-4DB2-BD59-A6C34878D82A}">
                    <a16:rowId xmlns:a16="http://schemas.microsoft.com/office/drawing/2014/main" val="381854689"/>
                  </a:ext>
                </a:extLst>
              </a:tr>
              <a:tr h="276133">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Boursin/Carrefour/Soft Cheese/Salade</a:t>
                      </a:r>
                    </a:p>
                  </a:txBody>
                  <a:tcPr marL="36000" marR="36000" marT="4763" marB="0" anchor="ctr">
                    <a:solidFill>
                      <a:srgbClr val="CBEAE7"/>
                    </a:solidFill>
                  </a:tcPr>
                </a:tc>
                <a:extLst>
                  <a:ext uri="{0D108BD9-81ED-4DB2-BD59-A6C34878D82A}">
                    <a16:rowId xmlns:a16="http://schemas.microsoft.com/office/drawing/2014/main" val="362768916"/>
                  </a:ext>
                </a:extLst>
              </a:tr>
              <a:tr h="276133">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Boursin/Intermarche/Soft Cheese/Salade</a:t>
                      </a:r>
                    </a:p>
                  </a:txBody>
                  <a:tcPr marL="36000" marR="36000" marT="4763" marB="0" anchor="ctr">
                    <a:solidFill>
                      <a:srgbClr val="FFBFBF"/>
                    </a:solidFill>
                  </a:tcPr>
                </a:tc>
                <a:extLst>
                  <a:ext uri="{0D108BD9-81ED-4DB2-BD59-A6C34878D82A}">
                    <a16:rowId xmlns:a16="http://schemas.microsoft.com/office/drawing/2014/main" val="1139766948"/>
                  </a:ext>
                </a:extLst>
              </a:tr>
              <a:tr h="276133">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Kiri/Carrefour/Soft Cheese/Frais A Tartiner</a:t>
                      </a:r>
                    </a:p>
                  </a:txBody>
                  <a:tcPr marL="36000" marR="36000" marT="4763" marB="0" anchor="ctr">
                    <a:solidFill>
                      <a:srgbClr val="CBEAE7"/>
                    </a:solidFill>
                  </a:tcPr>
                </a:tc>
                <a:extLst>
                  <a:ext uri="{0D108BD9-81ED-4DB2-BD59-A6C34878D82A}">
                    <a16:rowId xmlns:a16="http://schemas.microsoft.com/office/drawing/2014/main" val="1687090376"/>
                  </a:ext>
                </a:extLst>
              </a:tr>
              <a:tr h="276133">
                <a:tc>
                  <a:txBody>
                    <a:bodyPr/>
                    <a:lstStyle/>
                    <a:p>
                      <a:pPr algn="ctr">
                        <a:defRPr sz="900">
                          <a:latin typeface="Nexa Book (Body)"/>
                        </a:defRPr>
                      </a:pPr>
                      <a:r>
                        <a:rPr sz="900">
                          <a:latin typeface="Nexa Book (Body)"/>
                        </a:rPr>
                        <a:t>12</a:t>
                      </a:r>
                    </a:p>
                  </a:txBody>
                  <a:tcPr marL="36000" marR="36000" marT="4763" marB="0" anchor="ctr">
                    <a:solidFill>
                      <a:srgbClr val="F2F2F2"/>
                    </a:solidFill>
                  </a:tcPr>
                </a:tc>
                <a:tc>
                  <a:txBody>
                    <a:bodyPr/>
                    <a:lstStyle/>
                    <a:p>
                      <a:pPr algn="l">
                        <a:defRPr sz="900">
                          <a:latin typeface="Nexa Book (Body)"/>
                        </a:defRPr>
                      </a:pPr>
                      <a:r>
                        <a:rPr sz="900">
                          <a:latin typeface="Nexa Book (Body)"/>
                        </a:rPr>
                        <a:t>Kiri/Intermarche/Soft Cheese/Frais A Tartiner</a:t>
                      </a:r>
                    </a:p>
                  </a:txBody>
                  <a:tcPr marL="36000" marR="36000" marT="4763" marB="0" anchor="ctr">
                    <a:solidFill>
                      <a:srgbClr val="F2F2F2"/>
                    </a:solidFill>
                  </a:tcPr>
                </a:tc>
                <a:extLst>
                  <a:ext uri="{0D108BD9-81ED-4DB2-BD59-A6C34878D82A}">
                    <a16:rowId xmlns:a16="http://schemas.microsoft.com/office/drawing/2014/main" val="1182192680"/>
                  </a:ext>
                </a:extLst>
              </a:tr>
              <a:tr h="276133">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Carrefour/Soft Cheese/Frais A Tartiner</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11/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0997229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90327516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Total Fromage | NATIONA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5641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Soft Cheese</a:t>
                      </a:r>
                    </a:p>
                  </a:txBody>
                  <a:tcPr marL="36000" marR="36000" marT="4763" marB="0" anchor="ctr">
                    <a:solidFill>
                      <a:srgbClr val="CBEAE7"/>
                    </a:solidFill>
                  </a:tcPr>
                </a:tc>
                <a:extLst>
                  <a:ext uri="{0D108BD9-81ED-4DB2-BD59-A6C34878D82A}">
                    <a16:rowId xmlns:a16="http://schemas.microsoft.com/office/drawing/2014/main" val="3049926520"/>
                  </a:ext>
                </a:extLst>
              </a:tr>
              <a:tr h="256410">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Rape</a:t>
                      </a:r>
                    </a:p>
                  </a:txBody>
                  <a:tcPr marL="36000" marR="36000" marT="4763" marB="0" anchor="ctr">
                    <a:solidFill>
                      <a:srgbClr val="FFBFBF"/>
                    </a:solidFill>
                  </a:tcPr>
                </a:tc>
                <a:extLst>
                  <a:ext uri="{0D108BD9-81ED-4DB2-BD59-A6C34878D82A}">
                    <a16:rowId xmlns:a16="http://schemas.microsoft.com/office/drawing/2014/main" val="3518559538"/>
                  </a:ext>
                </a:extLst>
              </a:tr>
              <a:tr h="256410">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Soft Cheese</a:t>
                      </a:r>
                    </a:p>
                  </a:txBody>
                  <a:tcPr marL="36000" marR="36000" marT="4763" marB="0" anchor="ctr">
                    <a:solidFill>
                      <a:srgbClr val="CBEAE7"/>
                    </a:solidFill>
                  </a:tcPr>
                </a:tc>
                <a:extLst>
                  <a:ext uri="{0D108BD9-81ED-4DB2-BD59-A6C34878D82A}">
                    <a16:rowId xmlns:a16="http://schemas.microsoft.com/office/drawing/2014/main" val="3886752891"/>
                  </a:ext>
                </a:extLst>
              </a:tr>
              <a:tr h="256410">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Bloc</a:t>
                      </a:r>
                    </a:p>
                  </a:txBody>
                  <a:tcPr marL="36000" marR="36000" marT="4763" marB="0" anchor="ctr">
                    <a:solidFill>
                      <a:srgbClr val="FFBFBF"/>
                    </a:solidFill>
                  </a:tcPr>
                </a:tc>
                <a:extLst>
                  <a:ext uri="{0D108BD9-81ED-4DB2-BD59-A6C34878D82A}">
                    <a16:rowId xmlns:a16="http://schemas.microsoft.com/office/drawing/2014/main" val="3477306869"/>
                  </a:ext>
                </a:extLst>
              </a:tr>
              <a:tr h="25641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President/Soft Cheese</a:t>
                      </a:r>
                    </a:p>
                  </a:txBody>
                  <a:tcPr marL="36000" marR="36000" marT="4763" marB="0" anchor="ctr">
                    <a:solidFill>
                      <a:srgbClr val="CBEAE7"/>
                    </a:solidFill>
                  </a:tcPr>
                </a:tc>
                <a:extLst>
                  <a:ext uri="{0D108BD9-81ED-4DB2-BD59-A6C34878D82A}">
                    <a16:rowId xmlns:a16="http://schemas.microsoft.com/office/drawing/2014/main" val="264026324"/>
                  </a:ext>
                </a:extLst>
              </a:tr>
              <a:tr h="25641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Plat Chaud</a:t>
                      </a:r>
                    </a:p>
                  </a:txBody>
                  <a:tcPr marL="36000" marR="36000" marT="4763" marB="0" anchor="ctr">
                    <a:solidFill>
                      <a:srgbClr val="FFBFBF"/>
                    </a:solidFill>
                  </a:tcPr>
                </a:tc>
                <a:extLst>
                  <a:ext uri="{0D108BD9-81ED-4DB2-BD59-A6C34878D82A}">
                    <a16:rowId xmlns:a16="http://schemas.microsoft.com/office/drawing/2014/main" val="613793393"/>
                  </a:ext>
                </a:extLst>
              </a:tr>
              <a:tr h="25641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Specialite</a:t>
                      </a:r>
                    </a:p>
                  </a:txBody>
                  <a:tcPr marL="36000" marR="36000" marT="4763" marB="0" anchor="ctr">
                    <a:solidFill>
                      <a:srgbClr val="FFBFBF"/>
                    </a:solidFill>
                  </a:tcPr>
                </a:tc>
                <a:extLst>
                  <a:ext uri="{0D108BD9-81ED-4DB2-BD59-A6C34878D82A}">
                    <a16:rowId xmlns:a16="http://schemas.microsoft.com/office/drawing/2014/main" val="4246246309"/>
                  </a:ext>
                </a:extLst>
              </a:tr>
              <a:tr h="256410">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Soft Cheese</a:t>
                      </a:r>
                    </a:p>
                  </a:txBody>
                  <a:tcPr marL="36000" marR="36000" marT="4763" marB="0" anchor="ctr">
                    <a:solidFill>
                      <a:srgbClr val="CBEAE7"/>
                    </a:solidFill>
                  </a:tcPr>
                </a:tc>
                <a:extLst>
                  <a:ext uri="{0D108BD9-81ED-4DB2-BD59-A6C34878D82A}">
                    <a16:rowId xmlns:a16="http://schemas.microsoft.com/office/drawing/2014/main" val="418503086"/>
                  </a:ext>
                </a:extLst>
              </a:tr>
              <a:tr h="256410">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Kiri/Soft Cheese</a:t>
                      </a:r>
                    </a:p>
                  </a:txBody>
                  <a:tcPr marL="36000" marR="36000" marT="4763" marB="0" anchor="ctr">
                    <a:solidFill>
                      <a:srgbClr val="CBEAE7"/>
                    </a:solidFill>
                  </a:tcPr>
                </a:tc>
                <a:extLst>
                  <a:ext uri="{0D108BD9-81ED-4DB2-BD59-A6C34878D82A}">
                    <a16:rowId xmlns:a16="http://schemas.microsoft.com/office/drawing/2014/main" val="381854689"/>
                  </a:ext>
                </a:extLst>
              </a:tr>
              <a:tr h="256410">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Boursin/Soft Cheese</a:t>
                      </a:r>
                    </a:p>
                  </a:txBody>
                  <a:tcPr marL="36000" marR="36000" marT="4763" marB="0" anchor="ctr">
                    <a:solidFill>
                      <a:srgbClr val="CBEAE7"/>
                    </a:solidFill>
                  </a:tcPr>
                </a:tc>
                <a:extLst>
                  <a:ext uri="{0D108BD9-81ED-4DB2-BD59-A6C34878D82A}">
                    <a16:rowId xmlns:a16="http://schemas.microsoft.com/office/drawing/2014/main" val="362768916"/>
                  </a:ext>
                </a:extLst>
              </a:tr>
              <a:tr h="256410">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Boursin/Aperitif</a:t>
                      </a:r>
                    </a:p>
                  </a:txBody>
                  <a:tcPr marL="36000" marR="36000" marT="4763" marB="0" anchor="ctr">
                    <a:solidFill>
                      <a:srgbClr val="CBEAE7"/>
                    </a:solidFill>
                  </a:tcPr>
                </a:tc>
                <a:extLst>
                  <a:ext uri="{0D108BD9-81ED-4DB2-BD59-A6C34878D82A}">
                    <a16:rowId xmlns:a16="http://schemas.microsoft.com/office/drawing/2014/main" val="1139766948"/>
                  </a:ext>
                </a:extLst>
              </a:tr>
              <a:tr h="256410">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La Vache Qui Rit/Ingredient A Chaud</a:t>
                      </a:r>
                    </a:p>
                  </a:txBody>
                  <a:tcPr marL="36000" marR="36000" marT="4763" marB="0" anchor="ctr">
                    <a:solidFill>
                      <a:srgbClr val="FFBFBF"/>
                    </a:solidFill>
                  </a:tcPr>
                </a:tc>
                <a:extLst>
                  <a:ext uri="{0D108BD9-81ED-4DB2-BD59-A6C34878D82A}">
                    <a16:rowId xmlns:a16="http://schemas.microsoft.com/office/drawing/2014/main" val="1687090376"/>
                  </a:ext>
                </a:extLst>
              </a:tr>
              <a:tr h="256410">
                <a:tc>
                  <a:txBody>
                    <a:bodyPr/>
                    <a:lstStyle/>
                    <a:p>
                      <a:pPr algn="ctr">
                        <a:defRPr sz="900">
                          <a:latin typeface="Nexa Book (Body)"/>
                        </a:defRPr>
                      </a:pPr>
                      <a:r>
                        <a:rPr sz="900">
                          <a:latin typeface="Nexa Book (Body)"/>
                        </a:rPr>
                        <a:t>13</a:t>
                      </a:r>
                    </a:p>
                  </a:txBody>
                  <a:tcPr marL="36000" marR="36000" marT="4763" marB="0" anchor="ctr">
                    <a:solidFill>
                      <a:srgbClr val="FFBFBF"/>
                    </a:solidFill>
                  </a:tcPr>
                </a:tc>
                <a:tc>
                  <a:txBody>
                    <a:bodyPr/>
                    <a:lstStyle/>
                    <a:p>
                      <a:pPr algn="l">
                        <a:defRPr sz="900">
                          <a:latin typeface="Nexa Book (Body)"/>
                        </a:defRPr>
                      </a:pPr>
                      <a:r>
                        <a:rPr sz="900">
                          <a:latin typeface="Nexa Book (Body)"/>
                        </a:rPr>
                        <a:t>Boursin/Ingredient A Chaud</a:t>
                      </a:r>
                    </a:p>
                  </a:txBody>
                  <a:tcPr marL="36000" marR="36000" marT="4763" marB="0" anchor="ctr">
                    <a:solidFill>
                      <a:srgbClr val="FFBFBF"/>
                    </a:solidFill>
                  </a:tcPr>
                </a:tc>
                <a:extLst>
                  <a:ext uri="{0D108BD9-81ED-4DB2-BD59-A6C34878D82A}">
                    <a16:rowId xmlns:a16="http://schemas.microsoft.com/office/drawing/2014/main" val="1182192680"/>
                  </a:ext>
                </a:extLst>
              </a:tr>
              <a:tr h="256410">
                <a:tc>
                  <a:txBody>
                    <a:bodyPr/>
                    <a:lstStyle/>
                    <a:p>
                      <a:pPr algn="ctr">
                        <a:defRPr sz="900">
                          <a:latin typeface="Nexa Book (Body)"/>
                        </a:defRPr>
                      </a:pPr>
                      <a:r>
                        <a:rPr sz="900">
                          <a:latin typeface="Nexa Book (Body)"/>
                        </a:rPr>
                        <a:t>14</a:t>
                      </a:r>
                    </a:p>
                  </a:txBody>
                  <a:tcPr marL="36000" marR="36000" marT="4763" marB="0" anchor="ctr">
                    <a:solidFill>
                      <a:srgbClr val="CBEAE7"/>
                    </a:solidFill>
                  </a:tcPr>
                </a:tc>
                <a:tc>
                  <a:txBody>
                    <a:bodyPr/>
                    <a:lstStyle/>
                    <a:p>
                      <a:pPr algn="l">
                        <a:defRPr sz="900">
                          <a:latin typeface="Nexa Book (Body)"/>
                        </a:defRPr>
                      </a:pPr>
                      <a:r>
                        <a:rPr sz="900">
                          <a:latin typeface="Nexa Book (Body)"/>
                        </a:rPr>
                        <a:t>Boursin/Alternative Vegetale</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11/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4809302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56781370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Total Fromage | Carrefou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39316">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Soft Cheese</a:t>
                      </a:r>
                    </a:p>
                  </a:txBody>
                  <a:tcPr marL="36000" marR="36000" marT="4763" marB="0" anchor="ctr">
                    <a:solidFill>
                      <a:srgbClr val="CBEAE7"/>
                    </a:solidFill>
                  </a:tcPr>
                </a:tc>
                <a:extLst>
                  <a:ext uri="{0D108BD9-81ED-4DB2-BD59-A6C34878D82A}">
                    <a16:rowId xmlns:a16="http://schemas.microsoft.com/office/drawing/2014/main" val="98934626"/>
                  </a:ext>
                </a:extLst>
              </a:tr>
              <a:tr h="239316">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Private Label/Rape</a:t>
                      </a:r>
                    </a:p>
                  </a:txBody>
                  <a:tcPr marL="36000" marR="36000" marT="4763" marB="0" anchor="ctr">
                    <a:solidFill>
                      <a:srgbClr val="F2F2F2"/>
                    </a:solidFill>
                  </a:tcPr>
                </a:tc>
                <a:extLst>
                  <a:ext uri="{0D108BD9-81ED-4DB2-BD59-A6C34878D82A}">
                    <a16:rowId xmlns:a16="http://schemas.microsoft.com/office/drawing/2014/main" val="3049926520"/>
                  </a:ext>
                </a:extLst>
              </a:tr>
              <a:tr h="239316">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Soft Cheese</a:t>
                      </a:r>
                    </a:p>
                  </a:txBody>
                  <a:tcPr marL="36000" marR="36000" marT="4763" marB="0" anchor="ctr">
                    <a:solidFill>
                      <a:srgbClr val="CBEAE7"/>
                    </a:solidFill>
                  </a:tcPr>
                </a:tc>
                <a:extLst>
                  <a:ext uri="{0D108BD9-81ED-4DB2-BD59-A6C34878D82A}">
                    <a16:rowId xmlns:a16="http://schemas.microsoft.com/office/drawing/2014/main" val="3518559538"/>
                  </a:ext>
                </a:extLst>
              </a:tr>
              <a:tr h="239316">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President/Soft Cheese</a:t>
                      </a:r>
                    </a:p>
                  </a:txBody>
                  <a:tcPr marL="36000" marR="36000" marT="4763" marB="0" anchor="ctr">
                    <a:solidFill>
                      <a:srgbClr val="CBEAE7"/>
                    </a:solidFill>
                  </a:tcPr>
                </a:tc>
                <a:extLst>
                  <a:ext uri="{0D108BD9-81ED-4DB2-BD59-A6C34878D82A}">
                    <a16:rowId xmlns:a16="http://schemas.microsoft.com/office/drawing/2014/main" val="3886752891"/>
                  </a:ext>
                </a:extLst>
              </a:tr>
              <a:tr h="239316">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Private Label/Bloc</a:t>
                      </a:r>
                    </a:p>
                  </a:txBody>
                  <a:tcPr marL="36000" marR="36000" marT="4763" marB="0" anchor="ctr">
                    <a:solidFill>
                      <a:srgbClr val="F2F2F2"/>
                    </a:solidFill>
                  </a:tcPr>
                </a:tc>
                <a:extLst>
                  <a:ext uri="{0D108BD9-81ED-4DB2-BD59-A6C34878D82A}">
                    <a16:rowId xmlns:a16="http://schemas.microsoft.com/office/drawing/2014/main" val="3477306869"/>
                  </a:ext>
                </a:extLst>
              </a:tr>
              <a:tr h="239316">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Soignon/Soft Cheese</a:t>
                      </a:r>
                    </a:p>
                  </a:txBody>
                  <a:tcPr marL="36000" marR="36000" marT="4763" marB="0" anchor="ctr">
                    <a:solidFill>
                      <a:srgbClr val="CBEAE7"/>
                    </a:solidFill>
                  </a:tcPr>
                </a:tc>
                <a:extLst>
                  <a:ext uri="{0D108BD9-81ED-4DB2-BD59-A6C34878D82A}">
                    <a16:rowId xmlns:a16="http://schemas.microsoft.com/office/drawing/2014/main" val="264026324"/>
                  </a:ext>
                </a:extLst>
              </a:tr>
              <a:tr h="239316">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Private Label/Plat Chaud</a:t>
                      </a:r>
                    </a:p>
                  </a:txBody>
                  <a:tcPr marL="36000" marR="36000" marT="4763" marB="0" anchor="ctr">
                    <a:solidFill>
                      <a:srgbClr val="F2F2F2"/>
                    </a:solidFill>
                  </a:tcPr>
                </a:tc>
                <a:extLst>
                  <a:ext uri="{0D108BD9-81ED-4DB2-BD59-A6C34878D82A}">
                    <a16:rowId xmlns:a16="http://schemas.microsoft.com/office/drawing/2014/main" val="613793393"/>
                  </a:ext>
                </a:extLst>
              </a:tr>
              <a:tr h="239316">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Soft Cheese</a:t>
                      </a:r>
                    </a:p>
                  </a:txBody>
                  <a:tcPr marL="36000" marR="36000" marT="4763" marB="0" anchor="ctr">
                    <a:solidFill>
                      <a:srgbClr val="CBEAE7"/>
                    </a:solidFill>
                  </a:tcPr>
                </a:tc>
                <a:extLst>
                  <a:ext uri="{0D108BD9-81ED-4DB2-BD59-A6C34878D82A}">
                    <a16:rowId xmlns:a16="http://schemas.microsoft.com/office/drawing/2014/main" val="4246246309"/>
                  </a:ext>
                </a:extLst>
              </a:tr>
              <a:tr h="239316">
                <a:tc>
                  <a:txBody>
                    <a:bodyPr/>
                    <a:lstStyle/>
                    <a:p>
                      <a:pPr algn="ctr">
                        <a:defRPr sz="900">
                          <a:latin typeface="Nexa Book (Body)"/>
                        </a:defRPr>
                      </a:pPr>
                      <a:r>
                        <a:rPr sz="900">
                          <a:latin typeface="Nexa Book (Body)"/>
                        </a:rPr>
                        <a:t>9</a:t>
                      </a:r>
                    </a:p>
                  </a:txBody>
                  <a:tcPr marL="36000" marR="36000" marT="4763" marB="0" anchor="ctr">
                    <a:solidFill>
                      <a:srgbClr val="F2F2F2"/>
                    </a:solidFill>
                  </a:tcPr>
                </a:tc>
                <a:tc>
                  <a:txBody>
                    <a:bodyPr/>
                    <a:lstStyle/>
                    <a:p>
                      <a:pPr algn="l">
                        <a:defRPr sz="900">
                          <a:latin typeface="Nexa Book (Body)"/>
                        </a:defRPr>
                      </a:pPr>
                      <a:r>
                        <a:rPr sz="900">
                          <a:latin typeface="Nexa Book (Body)"/>
                        </a:rPr>
                        <a:t>Private Label/Specialite</a:t>
                      </a:r>
                    </a:p>
                  </a:txBody>
                  <a:tcPr marL="36000" marR="36000" marT="4763" marB="0" anchor="ctr">
                    <a:solidFill>
                      <a:srgbClr val="F2F2F2"/>
                    </a:solidFill>
                  </a:tcPr>
                </a:tc>
                <a:extLst>
                  <a:ext uri="{0D108BD9-81ED-4DB2-BD59-A6C34878D82A}">
                    <a16:rowId xmlns:a16="http://schemas.microsoft.com/office/drawing/2014/main" val="418503086"/>
                  </a:ext>
                </a:extLst>
              </a:tr>
              <a:tr h="239316">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Kiri/Soft Cheese</a:t>
                      </a:r>
                    </a:p>
                  </a:txBody>
                  <a:tcPr marL="36000" marR="36000" marT="4763" marB="0" anchor="ctr">
                    <a:solidFill>
                      <a:srgbClr val="CBEAE7"/>
                    </a:solidFill>
                  </a:tcPr>
                </a:tc>
                <a:extLst>
                  <a:ext uri="{0D108BD9-81ED-4DB2-BD59-A6C34878D82A}">
                    <a16:rowId xmlns:a16="http://schemas.microsoft.com/office/drawing/2014/main" val="381854689"/>
                  </a:ext>
                </a:extLst>
              </a:tr>
              <a:tr h="239316">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Boursin/Soft Cheese</a:t>
                      </a:r>
                    </a:p>
                  </a:txBody>
                  <a:tcPr marL="36000" marR="36000" marT="4763" marB="0" anchor="ctr">
                    <a:solidFill>
                      <a:srgbClr val="CBEAE7"/>
                    </a:solidFill>
                  </a:tcPr>
                </a:tc>
                <a:extLst>
                  <a:ext uri="{0D108BD9-81ED-4DB2-BD59-A6C34878D82A}">
                    <a16:rowId xmlns:a16="http://schemas.microsoft.com/office/drawing/2014/main" val="362768916"/>
                  </a:ext>
                </a:extLst>
              </a:tr>
              <a:tr h="239316">
                <a:tc>
                  <a:txBody>
                    <a:bodyPr/>
                    <a:lstStyle/>
                    <a:p>
                      <a:pPr algn="ctr">
                        <a:defRPr sz="900">
                          <a:latin typeface="Nexa Book (Body)"/>
                        </a:defRPr>
                      </a:pPr>
                      <a:r>
                        <a:rPr sz="900">
                          <a:latin typeface="Nexa Book (Body)"/>
                        </a:rPr>
                        <a:t>12</a:t>
                      </a:r>
                    </a:p>
                  </a:txBody>
                  <a:tcPr marL="36000" marR="36000" marT="4763" marB="0" anchor="ctr">
                    <a:solidFill>
                      <a:srgbClr val="CBEAE7"/>
                    </a:solidFill>
                  </a:tcPr>
                </a:tc>
                <a:tc>
                  <a:txBody>
                    <a:bodyPr/>
                    <a:lstStyle/>
                    <a:p>
                      <a:pPr algn="l">
                        <a:defRPr sz="900">
                          <a:latin typeface="Nexa Book (Body)"/>
                        </a:defRPr>
                      </a:pPr>
                      <a:r>
                        <a:rPr sz="900">
                          <a:latin typeface="Nexa Book (Body)"/>
                        </a:rPr>
                        <a:t>Boursin/Aperitif</a:t>
                      </a:r>
                    </a:p>
                  </a:txBody>
                  <a:tcPr marL="36000" marR="36000" marT="4763" marB="0" anchor="ctr">
                    <a:solidFill>
                      <a:srgbClr val="CBEAE7"/>
                    </a:solidFill>
                  </a:tcPr>
                </a:tc>
                <a:extLst>
                  <a:ext uri="{0D108BD9-81ED-4DB2-BD59-A6C34878D82A}">
                    <a16:rowId xmlns:a16="http://schemas.microsoft.com/office/drawing/2014/main" val="1139766948"/>
                  </a:ext>
                </a:extLst>
              </a:tr>
              <a:tr h="239316">
                <a:tc>
                  <a:txBody>
                    <a:bodyPr/>
                    <a:lstStyle/>
                    <a:p>
                      <a:pPr algn="ctr">
                        <a:defRPr sz="900">
                          <a:latin typeface="Nexa Book (Body)"/>
                        </a:defRPr>
                      </a:pPr>
                      <a:r>
                        <a:rPr sz="900">
                          <a:latin typeface="Nexa Book (Body)"/>
                        </a:rPr>
                        <a:t>13</a:t>
                      </a:r>
                    </a:p>
                  </a:txBody>
                  <a:tcPr marL="36000" marR="36000" marT="4763" marB="0" anchor="ctr">
                    <a:solidFill>
                      <a:srgbClr val="F2F2F2"/>
                    </a:solidFill>
                  </a:tcPr>
                </a:tc>
                <a:tc>
                  <a:txBody>
                    <a:bodyPr/>
                    <a:lstStyle/>
                    <a:p>
                      <a:pPr algn="l">
                        <a:defRPr sz="900">
                          <a:latin typeface="Nexa Book (Body)"/>
                        </a:defRPr>
                      </a:pPr>
                      <a:r>
                        <a:rPr sz="900">
                          <a:latin typeface="Nexa Book (Body)"/>
                        </a:rPr>
                        <a:t>La Vache Qui Rit/Ingredient A Chaud</a:t>
                      </a:r>
                    </a:p>
                  </a:txBody>
                  <a:tcPr marL="36000" marR="36000" marT="4763" marB="0" anchor="ctr">
                    <a:solidFill>
                      <a:srgbClr val="F2F2F2"/>
                    </a:solidFill>
                  </a:tcPr>
                </a:tc>
                <a:extLst>
                  <a:ext uri="{0D108BD9-81ED-4DB2-BD59-A6C34878D82A}">
                    <a16:rowId xmlns:a16="http://schemas.microsoft.com/office/drawing/2014/main" val="1687090376"/>
                  </a:ext>
                </a:extLst>
              </a:tr>
              <a:tr h="239316">
                <a:tc>
                  <a:txBody>
                    <a:bodyPr/>
                    <a:lstStyle/>
                    <a:p>
                      <a:pPr algn="ctr">
                        <a:defRPr sz="900">
                          <a:latin typeface="Nexa Book (Body)"/>
                        </a:defRPr>
                      </a:pPr>
                      <a:r>
                        <a:rPr sz="900">
                          <a:latin typeface="Nexa Book (Body)"/>
                        </a:rPr>
                        <a:t>14</a:t>
                      </a:r>
                    </a:p>
                  </a:txBody>
                  <a:tcPr marL="36000" marR="36000" marT="4763" marB="0" anchor="ctr">
                    <a:solidFill>
                      <a:srgbClr val="F2F2F2"/>
                    </a:solidFill>
                  </a:tcPr>
                </a:tc>
                <a:tc>
                  <a:txBody>
                    <a:bodyPr/>
                    <a:lstStyle/>
                    <a:p>
                      <a:pPr algn="l">
                        <a:defRPr sz="900">
                          <a:latin typeface="Nexa Book (Body)"/>
                        </a:defRPr>
                      </a:pPr>
                      <a:r>
                        <a:rPr sz="900">
                          <a:latin typeface="Nexa Book (Body)"/>
                        </a:rPr>
                        <a:t>Boursin/Ingredient A Chaud</a:t>
                      </a:r>
                    </a:p>
                  </a:txBody>
                  <a:tcPr marL="36000" marR="36000" marT="4763" marB="0" anchor="ctr">
                    <a:solidFill>
                      <a:srgbClr val="F2F2F2"/>
                    </a:solidFill>
                  </a:tcPr>
                </a:tc>
                <a:extLst>
                  <a:ext uri="{0D108BD9-81ED-4DB2-BD59-A6C34878D82A}">
                    <a16:rowId xmlns:a16="http://schemas.microsoft.com/office/drawing/2014/main" val="1182192680"/>
                  </a:ext>
                </a:extLst>
              </a:tr>
              <a:tr h="239316">
                <a:tc>
                  <a:txBody>
                    <a:bodyPr/>
                    <a:lstStyle/>
                    <a:p>
                      <a:pPr algn="ctr">
                        <a:defRPr sz="900">
                          <a:latin typeface="Nexa Book (Body)"/>
                        </a:defRPr>
                      </a:pPr>
                      <a:r>
                        <a:rPr sz="900">
                          <a:latin typeface="Nexa Book (Body)"/>
                        </a:rPr>
                        <a:t>15</a:t>
                      </a:r>
                    </a:p>
                  </a:txBody>
                  <a:tcPr marL="36000" marR="36000" marT="4763" marB="0" anchor="ctr">
                    <a:solidFill>
                      <a:srgbClr val="CBEAE7"/>
                    </a:solidFill>
                  </a:tcPr>
                </a:tc>
                <a:tc>
                  <a:txBody>
                    <a:bodyPr/>
                    <a:lstStyle/>
                    <a:p>
                      <a:pPr algn="l">
                        <a:defRPr sz="900">
                          <a:latin typeface="Nexa Book (Body)"/>
                        </a:defRPr>
                      </a:pPr>
                      <a:r>
                        <a:rPr sz="900">
                          <a:latin typeface="Nexa Book (Body)"/>
                        </a:rPr>
                        <a:t>Boursin/Alternative Vegetale</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11/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523688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508356003"/>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Total Fromage | Intermarch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29"/>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76133">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Soft Cheese</a:t>
                      </a:r>
                    </a:p>
                  </a:txBody>
                  <a:tcPr marL="36000" marR="36000" marT="4763" marB="0" anchor="ctr">
                    <a:solidFill>
                      <a:srgbClr val="CBEAE7"/>
                    </a:solidFill>
                  </a:tcPr>
                </a:tc>
                <a:extLst>
                  <a:ext uri="{0D108BD9-81ED-4DB2-BD59-A6C34878D82A}">
                    <a16:rowId xmlns:a16="http://schemas.microsoft.com/office/drawing/2014/main" val="3518559538"/>
                  </a:ext>
                </a:extLst>
              </a:tr>
              <a:tr h="276133">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Rape</a:t>
                      </a:r>
                    </a:p>
                  </a:txBody>
                  <a:tcPr marL="36000" marR="36000" marT="4763" marB="0" anchor="ctr">
                    <a:solidFill>
                      <a:srgbClr val="FFBFBF"/>
                    </a:solidFill>
                  </a:tcPr>
                </a:tc>
                <a:extLst>
                  <a:ext uri="{0D108BD9-81ED-4DB2-BD59-A6C34878D82A}">
                    <a16:rowId xmlns:a16="http://schemas.microsoft.com/office/drawing/2014/main" val="3886752891"/>
                  </a:ext>
                </a:extLst>
              </a:tr>
              <a:tr h="276133">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Bloc</a:t>
                      </a:r>
                    </a:p>
                  </a:txBody>
                  <a:tcPr marL="36000" marR="36000" marT="4763" marB="0" anchor="ctr">
                    <a:solidFill>
                      <a:srgbClr val="CBEAE7"/>
                    </a:solidFill>
                  </a:tcPr>
                </a:tc>
                <a:extLst>
                  <a:ext uri="{0D108BD9-81ED-4DB2-BD59-A6C34878D82A}">
                    <a16:rowId xmlns:a16="http://schemas.microsoft.com/office/drawing/2014/main" val="3477306869"/>
                  </a:ext>
                </a:extLst>
              </a:tr>
              <a:tr h="276133">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Specialite</a:t>
                      </a:r>
                    </a:p>
                  </a:txBody>
                  <a:tcPr marL="36000" marR="36000" marT="4763" marB="0" anchor="ctr">
                    <a:solidFill>
                      <a:srgbClr val="FFBFBF"/>
                    </a:solidFill>
                  </a:tcPr>
                </a:tc>
                <a:extLst>
                  <a:ext uri="{0D108BD9-81ED-4DB2-BD59-A6C34878D82A}">
                    <a16:rowId xmlns:a16="http://schemas.microsoft.com/office/drawing/2014/main" val="264026324"/>
                  </a:ext>
                </a:extLst>
              </a:tr>
              <a:tr h="276133">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Plat Chaud</a:t>
                      </a:r>
                    </a:p>
                  </a:txBody>
                  <a:tcPr marL="36000" marR="36000" marT="4763" marB="0" anchor="ctr">
                    <a:solidFill>
                      <a:srgbClr val="FFBFBF"/>
                    </a:solidFill>
                  </a:tcPr>
                </a:tc>
                <a:extLst>
                  <a:ext uri="{0D108BD9-81ED-4DB2-BD59-A6C34878D82A}">
                    <a16:rowId xmlns:a16="http://schemas.microsoft.com/office/drawing/2014/main" val="613793393"/>
                  </a:ext>
                </a:extLst>
              </a:tr>
              <a:tr h="276133">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President/Soft Cheese</a:t>
                      </a:r>
                    </a:p>
                  </a:txBody>
                  <a:tcPr marL="36000" marR="36000" marT="4763" marB="0" anchor="ctr">
                    <a:solidFill>
                      <a:srgbClr val="FFBFBF"/>
                    </a:solidFill>
                  </a:tcPr>
                </a:tc>
                <a:extLst>
                  <a:ext uri="{0D108BD9-81ED-4DB2-BD59-A6C34878D82A}">
                    <a16:rowId xmlns:a16="http://schemas.microsoft.com/office/drawing/2014/main" val="4246246309"/>
                  </a:ext>
                </a:extLst>
              </a:tr>
              <a:tr h="276133">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Tranche A Froid</a:t>
                      </a:r>
                    </a:p>
                  </a:txBody>
                  <a:tcPr marL="36000" marR="36000" marT="4763" marB="0" anchor="ctr">
                    <a:solidFill>
                      <a:srgbClr val="CBEAE7"/>
                    </a:solidFill>
                  </a:tcPr>
                </a:tc>
                <a:extLst>
                  <a:ext uri="{0D108BD9-81ED-4DB2-BD59-A6C34878D82A}">
                    <a16:rowId xmlns:a16="http://schemas.microsoft.com/office/drawing/2014/main" val="418503086"/>
                  </a:ext>
                </a:extLst>
              </a:tr>
              <a:tr h="276133">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Soft Cheese</a:t>
                      </a:r>
                    </a:p>
                  </a:txBody>
                  <a:tcPr marL="36000" marR="36000" marT="4763" marB="0" anchor="ctr">
                    <a:solidFill>
                      <a:srgbClr val="CBEAE7"/>
                    </a:solidFill>
                  </a:tcPr>
                </a:tc>
                <a:extLst>
                  <a:ext uri="{0D108BD9-81ED-4DB2-BD59-A6C34878D82A}">
                    <a16:rowId xmlns:a16="http://schemas.microsoft.com/office/drawing/2014/main" val="381854689"/>
                  </a:ext>
                </a:extLst>
              </a:tr>
              <a:tr h="276133">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Kiri/Soft Cheese</a:t>
                      </a:r>
                    </a:p>
                  </a:txBody>
                  <a:tcPr marL="36000" marR="36000" marT="4763" marB="0" anchor="ctr">
                    <a:solidFill>
                      <a:srgbClr val="CBEAE7"/>
                    </a:solidFill>
                  </a:tcPr>
                </a:tc>
                <a:extLst>
                  <a:ext uri="{0D108BD9-81ED-4DB2-BD59-A6C34878D82A}">
                    <a16:rowId xmlns:a16="http://schemas.microsoft.com/office/drawing/2014/main" val="362768916"/>
                  </a:ext>
                </a:extLst>
              </a:tr>
              <a:tr h="276133">
                <a:tc>
                  <a:txBody>
                    <a:bodyPr/>
                    <a:lstStyle/>
                    <a:p>
                      <a:pPr algn="ctr">
                        <a:defRPr sz="900">
                          <a:latin typeface="Nexa Book (Body)"/>
                        </a:defRPr>
                      </a:pPr>
                      <a:r>
                        <a:rPr sz="900">
                          <a:latin typeface="Nexa Book (Body)"/>
                        </a:rPr>
                        <a:t>10</a:t>
                      </a:r>
                    </a:p>
                  </a:txBody>
                  <a:tcPr marL="36000" marR="36000" marT="4763" marB="0" anchor="ctr">
                    <a:solidFill>
                      <a:srgbClr val="F2F2F2"/>
                    </a:solidFill>
                  </a:tcPr>
                </a:tc>
                <a:tc>
                  <a:txBody>
                    <a:bodyPr/>
                    <a:lstStyle/>
                    <a:p>
                      <a:pPr algn="l">
                        <a:defRPr sz="900">
                          <a:latin typeface="Nexa Book (Body)"/>
                        </a:defRPr>
                      </a:pPr>
                      <a:r>
                        <a:rPr sz="900">
                          <a:latin typeface="Nexa Book (Body)"/>
                        </a:rPr>
                        <a:t>Boursin/Soft Cheese</a:t>
                      </a:r>
                    </a:p>
                  </a:txBody>
                  <a:tcPr marL="36000" marR="36000" marT="4763" marB="0" anchor="ctr">
                    <a:solidFill>
                      <a:srgbClr val="F2F2F2"/>
                    </a:solidFill>
                  </a:tcPr>
                </a:tc>
                <a:extLst>
                  <a:ext uri="{0D108BD9-81ED-4DB2-BD59-A6C34878D82A}">
                    <a16:rowId xmlns:a16="http://schemas.microsoft.com/office/drawing/2014/main" val="1139766948"/>
                  </a:ext>
                </a:extLst>
              </a:tr>
              <a:tr h="276133">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Boursin/Aperitif</a:t>
                      </a:r>
                    </a:p>
                  </a:txBody>
                  <a:tcPr marL="36000" marR="36000" marT="4763" marB="0" anchor="ctr">
                    <a:solidFill>
                      <a:srgbClr val="FFBFBF"/>
                    </a:solidFill>
                  </a:tcPr>
                </a:tc>
                <a:extLst>
                  <a:ext uri="{0D108BD9-81ED-4DB2-BD59-A6C34878D82A}">
                    <a16:rowId xmlns:a16="http://schemas.microsoft.com/office/drawing/2014/main" val="1687090376"/>
                  </a:ext>
                </a:extLst>
              </a:tr>
              <a:tr h="276133">
                <a:tc>
                  <a:txBody>
                    <a:bodyPr/>
                    <a:lstStyle/>
                    <a:p>
                      <a:pPr algn="ctr">
                        <a:defRPr sz="900">
                          <a:latin typeface="Nexa Book (Body)"/>
                        </a:defRPr>
                      </a:pPr>
                      <a:r>
                        <a:rPr sz="900">
                          <a:latin typeface="Nexa Book (Body)"/>
                        </a:rPr>
                        <a:t>12</a:t>
                      </a:r>
                    </a:p>
                  </a:txBody>
                  <a:tcPr marL="36000" marR="36000" marT="4763" marB="0" anchor="ctr">
                    <a:solidFill>
                      <a:srgbClr val="CBEAE7"/>
                    </a:solidFill>
                  </a:tcPr>
                </a:tc>
                <a:tc>
                  <a:txBody>
                    <a:bodyPr/>
                    <a:lstStyle/>
                    <a:p>
                      <a:pPr algn="l">
                        <a:defRPr sz="900">
                          <a:latin typeface="Nexa Book (Body)"/>
                        </a:defRPr>
                      </a:pPr>
                      <a:r>
                        <a:rPr sz="900">
                          <a:latin typeface="Nexa Book (Body)"/>
                        </a:rPr>
                        <a:t>Boursin/Ingredient A Chaud</a:t>
                      </a:r>
                    </a:p>
                  </a:txBody>
                  <a:tcPr marL="36000" marR="36000" marT="4763" marB="0" anchor="ctr">
                    <a:solidFill>
                      <a:srgbClr val="CBEAE7"/>
                    </a:solidFill>
                  </a:tcPr>
                </a:tc>
                <a:extLst>
                  <a:ext uri="{0D108BD9-81ED-4DB2-BD59-A6C34878D82A}">
                    <a16:rowId xmlns:a16="http://schemas.microsoft.com/office/drawing/2014/main" val="1182192680"/>
                  </a:ext>
                </a:extLst>
              </a:tr>
              <a:tr h="276133">
                <a:tc>
                  <a:txBody>
                    <a:bodyPr/>
                    <a:lstStyle/>
                    <a:p>
                      <a:pPr algn="ctr">
                        <a:defRPr sz="900">
                          <a:latin typeface="Nexa Book (Body)"/>
                        </a:defRPr>
                      </a:pPr>
                      <a:r>
                        <a:rPr sz="900">
                          <a:latin typeface="Nexa Book (Body)"/>
                        </a:rPr>
                        <a:t>13</a:t>
                      </a:r>
                    </a:p>
                  </a:txBody>
                  <a:tcPr marL="36000" marR="36000" marT="4763" marB="0" anchor="ctr">
                    <a:solidFill>
                      <a:srgbClr val="FFBFBF"/>
                    </a:solidFill>
                  </a:tcPr>
                </a:tc>
                <a:tc>
                  <a:txBody>
                    <a:bodyPr/>
                    <a:lstStyle/>
                    <a:p>
                      <a:pPr algn="l">
                        <a:defRPr sz="900">
                          <a:latin typeface="Nexa Book (Body)"/>
                        </a:defRPr>
                      </a:pPr>
                      <a:r>
                        <a:rPr sz="900">
                          <a:latin typeface="Nexa Book (Body)"/>
                        </a:rPr>
                        <a:t>La Vache Qui Rit/Ingredient A Chaud</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11/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9666989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Ingredient A Chaud | Carrefour</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40405567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Les Mousquetai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Millere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Ingredient A Chaud | Intermarch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Ragu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35014176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Ker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nfant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18035755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Ker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nfant | Carrefour</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24748533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Ker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nfant | Intermarch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42231642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Mondelez</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Frais A Tartiner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hiladelph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15842385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Mondelez</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Frais A Tartiner | Carrefour</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hiladelph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9978800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Mondelez</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Frais A Tartiner | Intermarch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Philadelph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26940375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Salade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33404342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Euri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Total Fromage | Carrefour</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31616930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Salade | Carrefour</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40394877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Les Mousquetai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Salade | Intermarch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15807805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Total Fromag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6613">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6613">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6613">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6613">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6613">
                <a:tc>
                  <a:txBody>
                    <a:bodyPr/>
                    <a:lstStyle/>
                    <a:p>
                      <a:pPr>
                        <a:defRPr sz="900">
                          <a:latin typeface="Nexa Bold"/>
                        </a:defRPr>
                      </a:pPr>
                      <a: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6613">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6613">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661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6"/>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787">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787">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787">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787">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787">
                <a:tc>
                  <a:txBody>
                    <a:bodyPr/>
                    <a:lstStyle/>
                    <a:p>
                      <a:pPr>
                        <a:defRPr sz="900">
                          <a:latin typeface="Nexa Bold"/>
                        </a:defRPr>
                      </a:pPr>
                      <a:r>
                        <a:t>Entremo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787">
                <a:tc>
                  <a:txBody>
                    <a:bodyPr/>
                    <a:lstStyle/>
                    <a:p>
                      <a:pPr>
                        <a:defRPr sz="900">
                          <a:latin typeface="Nexa Bold"/>
                        </a:defRPr>
                      </a:pPr>
                      <a: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787">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787">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78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11/2025</a:t>
            </a:fld>
            <a:endParaRPr lang="en-US"/>
          </a:p>
        </p:txBody>
      </p:sp>
    </p:spTree>
    <p:extLst>
      <p:ext uri="{BB962C8B-B14F-4D97-AF65-F5344CB8AC3E}">
        <p14:creationId xmlns:p14="http://schemas.microsoft.com/office/powerpoint/2010/main" val="32642001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Soft Chees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434">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434">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434">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434">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434">
                <a:tc>
                  <a:txBody>
                    <a:bodyPr/>
                    <a:lstStyle/>
                    <a:p>
                      <a:pPr>
                        <a:defRPr sz="900">
                          <a:latin typeface="Nexa Bold"/>
                        </a:defRPr>
                      </a:pPr>
                      <a: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434">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434">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434">
                <a:tc>
                  <a:txBody>
                    <a:bodyPr/>
                    <a:lstStyle/>
                    <a:p>
                      <a:pPr>
                        <a:defRPr sz="900">
                          <a:latin typeface="Nexa Bold"/>
                        </a:defRPr>
                      </a:pPr>
                      <a: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4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01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011">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011">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01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011">
                <a:tc>
                  <a:txBody>
                    <a:bodyPr/>
                    <a:lstStyle/>
                    <a:p>
                      <a:pPr>
                        <a:defRPr sz="900">
                          <a:latin typeface="Nexa Bold"/>
                        </a:defRPr>
                      </a:pPr>
                      <a: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011">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011">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0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11/2025</a:t>
            </a:fld>
            <a:endParaRPr lang="en-US"/>
          </a:p>
        </p:txBody>
      </p:sp>
    </p:spTree>
    <p:extLst>
      <p:ext uri="{BB962C8B-B14F-4D97-AF65-F5344CB8AC3E}">
        <p14:creationId xmlns:p14="http://schemas.microsoft.com/office/powerpoint/2010/main" val="22181828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Aperitif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0582">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0582">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0582">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0582">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058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022">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022">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022">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02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11/2025</a:t>
            </a:fld>
            <a:endParaRPr lang="en-US"/>
          </a:p>
        </p:txBody>
      </p:sp>
    </p:spTree>
    <p:extLst>
      <p:ext uri="{BB962C8B-B14F-4D97-AF65-F5344CB8AC3E}">
        <p14:creationId xmlns:p14="http://schemas.microsoft.com/office/powerpoint/2010/main" val="29034362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Ingredient A Chaud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3227">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3227">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3227">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322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68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681">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68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681">
                <a:tc>
                  <a:txBody>
                    <a:bodyPr/>
                    <a:lstStyle/>
                    <a:p>
                      <a:pPr>
                        <a:defRPr sz="900">
                          <a:latin typeface="Nexa Bold"/>
                        </a:defRPr>
                      </a:pPr>
                      <a:r>
                        <a:t>Les Mousquetai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681">
                <a:tc>
                  <a:txBody>
                    <a:bodyPr/>
                    <a:lstStyle/>
                    <a:p>
                      <a:pPr>
                        <a:defRPr sz="900">
                          <a:latin typeface="Nexa Bold"/>
                        </a:defRPr>
                      </a:pPr>
                      <a:r>
                        <a:t>Mille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68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11/2025</a:t>
            </a:fld>
            <a:endParaRPr lang="en-US"/>
          </a:p>
        </p:txBody>
      </p:sp>
    </p:spTree>
    <p:extLst>
      <p:ext uri="{BB962C8B-B14F-4D97-AF65-F5344CB8AC3E}">
        <p14:creationId xmlns:p14="http://schemas.microsoft.com/office/powerpoint/2010/main" val="24958506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Enfant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0582">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0582">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0582">
                <a:tc>
                  <a:txBody>
                    <a:bodyPr/>
                    <a:lstStyle/>
                    <a:p>
                      <a:pPr>
                        <a:defRPr sz="900">
                          <a:latin typeface="Nexa Bold"/>
                        </a:defRPr>
                      </a:pPr>
                      <a: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0582">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058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218">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218">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218">
                <a:tc>
                  <a:txBody>
                    <a:bodyPr/>
                    <a:lstStyle/>
                    <a:p>
                      <a:pPr>
                        <a:defRPr sz="900">
                          <a:latin typeface="Nexa Bold"/>
                        </a:defRPr>
                      </a:pPr>
                      <a: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218">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2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11/2025</a:t>
            </a:fld>
            <a:endParaRPr lang="en-US"/>
          </a:p>
        </p:txBody>
      </p:sp>
    </p:spTree>
    <p:extLst>
      <p:ext uri="{BB962C8B-B14F-4D97-AF65-F5344CB8AC3E}">
        <p14:creationId xmlns:p14="http://schemas.microsoft.com/office/powerpoint/2010/main" val="14768294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Frais A Tartine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4701">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4701">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470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470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4701">
                <a:tc>
                  <a:txBody>
                    <a:bodyPr/>
                    <a:lstStyle/>
                    <a:p>
                      <a:pPr>
                        <a:defRPr sz="900">
                          <a:latin typeface="Nexa Bold"/>
                        </a:defRPr>
                      </a:pPr>
                      <a: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4701">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47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681">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681">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68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68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681">
                <a:tc>
                  <a:txBody>
                    <a:bodyPr/>
                    <a:lstStyle/>
                    <a:p>
                      <a:pPr>
                        <a:defRPr sz="900">
                          <a:latin typeface="Nexa Bold"/>
                        </a:defRPr>
                      </a:pPr>
                      <a: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68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11/2025</a:t>
            </a:fld>
            <a:endParaRPr lang="en-US"/>
          </a:p>
        </p:txBody>
      </p:sp>
    </p:spTree>
    <p:extLst>
      <p:ext uri="{BB962C8B-B14F-4D97-AF65-F5344CB8AC3E}">
        <p14:creationId xmlns:p14="http://schemas.microsoft.com/office/powerpoint/2010/main" val="3090224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Salad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15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151">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151">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151">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15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155">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155">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155">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155">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155">
                <a:tc>
                  <a:txBody>
                    <a:bodyPr/>
                    <a:lstStyle/>
                    <a:p>
                      <a:pPr>
                        <a:defRPr sz="900">
                          <a:latin typeface="Nexa Bold"/>
                        </a:defRPr>
                      </a:pPr>
                      <a:r>
                        <a:t>Les Mousquetai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155">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1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11/2025</a:t>
            </a:fld>
            <a:endParaRPr lang="en-US"/>
          </a:p>
        </p:txBody>
      </p:sp>
    </p:spTree>
    <p:extLst>
      <p:ext uri="{BB962C8B-B14F-4D97-AF65-F5344CB8AC3E}">
        <p14:creationId xmlns:p14="http://schemas.microsoft.com/office/powerpoint/2010/main" val="2802814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Total Fromag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Entremo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11/2025</a:t>
            </a:fld>
            <a:endParaRPr lang="en-US"/>
          </a:p>
        </p:txBody>
      </p:sp>
    </p:spTree>
    <p:extLst>
      <p:ext uri="{BB962C8B-B14F-4D97-AF65-F5344CB8AC3E}">
        <p14:creationId xmlns:p14="http://schemas.microsoft.com/office/powerpoint/2010/main" val="29486302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0304">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0304">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0304">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60304">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60304">
                <a:tc>
                  <a:txBody>
                    <a:bodyPr/>
                    <a:lstStyle/>
                    <a:p>
                      <a:pPr>
                        <a:defRPr sz="900">
                          <a:latin typeface="Nexa Bold"/>
                        </a:defRPr>
                      </a:pPr>
                      <a:r>
                        <a:t>Entremo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0304">
                <a:tc>
                  <a:txBody>
                    <a:bodyPr/>
                    <a:lstStyle/>
                    <a:p>
                      <a:pPr>
                        <a:defRPr sz="900">
                          <a:latin typeface="Nexa Bold"/>
                        </a:defRPr>
                      </a:pPr>
                      <a:r>
                        <a:t>Euri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60304">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60304">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6030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Total Fromage | Intermarch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Entremo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34110860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Soft Chees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11/2025</a:t>
            </a:fld>
            <a:endParaRPr lang="en-US"/>
          </a:p>
        </p:txBody>
      </p:sp>
    </p:spTree>
    <p:extLst>
      <p:ext uri="{BB962C8B-B14F-4D97-AF65-F5344CB8AC3E}">
        <p14:creationId xmlns:p14="http://schemas.microsoft.com/office/powerpoint/2010/main" val="36686819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Aperitif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6613">
                <a:tc>
                  <a:txBody>
                    <a:bodyPr/>
                    <a:lstStyle/>
                    <a:p>
                      <a:pPr>
                        <a:defRPr sz="900">
                          <a:latin typeface="Nexa Bold"/>
                        </a:defRPr>
                      </a:pPr>
                      <a: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6613">
                <a:tc>
                  <a:txBody>
                    <a:bodyPr/>
                    <a:lstStyle/>
                    <a:p>
                      <a:pPr>
                        <a:defRPr sz="900">
                          <a:latin typeface="Nexa Bold"/>
                        </a:defRPr>
                      </a:pPr>
                      <a: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661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661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661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6613">
                <a:tc>
                  <a:txBody>
                    <a:bodyPr/>
                    <a:lstStyle/>
                    <a:p>
                      <a:pPr>
                        <a:defRPr sz="900">
                          <a:latin typeface="Nexa Bold"/>
                        </a:defRPr>
                      </a:pPr>
                      <a:r>
                        <a:t>O'Tapas Ape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6613">
                <a:tc>
                  <a:txBody>
                    <a:bodyPr/>
                    <a:lstStyle/>
                    <a:p>
                      <a:pPr>
                        <a:defRPr sz="900">
                          <a:latin typeface="Nexa Bold"/>
                        </a:defRPr>
                      </a:pPr>
                      <a:r>
                        <a:t>Leerdamm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661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681">
                <a:tc>
                  <a:txBody>
                    <a:bodyPr/>
                    <a:lstStyle/>
                    <a:p>
                      <a:pPr>
                        <a:defRPr sz="900">
                          <a:latin typeface="Nexa Bold"/>
                        </a:defRPr>
                      </a:pPr>
                      <a: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681">
                <a:tc>
                  <a:txBody>
                    <a:bodyPr/>
                    <a:lstStyle/>
                    <a:p>
                      <a:pPr>
                        <a:defRPr sz="900">
                          <a:latin typeface="Nexa Bold"/>
                        </a:defRPr>
                      </a:pPr>
                      <a: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681">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681">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68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68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11/2025</a:t>
            </a:fld>
            <a:endParaRPr lang="en-US"/>
          </a:p>
        </p:txBody>
      </p:sp>
    </p:spTree>
    <p:extLst>
      <p:ext uri="{BB962C8B-B14F-4D97-AF65-F5344CB8AC3E}">
        <p14:creationId xmlns:p14="http://schemas.microsoft.com/office/powerpoint/2010/main" val="1961141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Ingredient A Chaud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15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155">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155">
                <a:tc>
                  <a:txBody>
                    <a:bodyPr/>
                    <a:lstStyle/>
                    <a:p>
                      <a:pPr>
                        <a:defRPr sz="900">
                          <a:latin typeface="Nexa Bold"/>
                        </a:defRPr>
                      </a:pPr>
                      <a: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155">
                <a:tc>
                  <a:txBody>
                    <a:bodyPr/>
                    <a:lstStyle/>
                    <a:p>
                      <a:pPr>
                        <a:defRPr sz="900">
                          <a:latin typeface="Nexa Bold"/>
                        </a:defRPr>
                      </a:pPr>
                      <a:r>
                        <a:t>Ragu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155">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155">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1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11/2025</a:t>
            </a:fld>
            <a:endParaRPr lang="en-US"/>
          </a:p>
        </p:txBody>
      </p:sp>
    </p:spTree>
    <p:extLst>
      <p:ext uri="{BB962C8B-B14F-4D97-AF65-F5344CB8AC3E}">
        <p14:creationId xmlns:p14="http://schemas.microsoft.com/office/powerpoint/2010/main" val="9278168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Enfant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4701">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4701">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4701">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470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4701">
                <a:tc>
                  <a:txBody>
                    <a:bodyPr/>
                    <a:lstStyle/>
                    <a:p>
                      <a:pPr>
                        <a:defRPr sz="900">
                          <a:latin typeface="Nexa Bold"/>
                        </a:defRPr>
                      </a:pPr>
                      <a: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4701">
                <a:tc>
                  <a:txBody>
                    <a:bodyPr/>
                    <a:lstStyle/>
                    <a:p>
                      <a:pPr>
                        <a:defRPr sz="900">
                          <a:latin typeface="Nexa Bold"/>
                        </a:defRPr>
                      </a:pPr>
                      <a: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47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155">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155">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155">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15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155">
                <a:tc>
                  <a:txBody>
                    <a:bodyPr/>
                    <a:lstStyle/>
                    <a:p>
                      <a:pPr>
                        <a:defRPr sz="900">
                          <a:latin typeface="Nexa Bold"/>
                        </a:defRPr>
                      </a:pPr>
                      <a: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155">
                <a:tc>
                  <a:txBody>
                    <a:bodyPr/>
                    <a:lstStyle/>
                    <a:p>
                      <a:pPr>
                        <a:defRPr sz="900">
                          <a:latin typeface="Nexa Bold"/>
                        </a:defRPr>
                      </a:pPr>
                      <a: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1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11/2025</a:t>
            </a:fld>
            <a:endParaRPr lang="en-US"/>
          </a:p>
        </p:txBody>
      </p:sp>
    </p:spTree>
    <p:extLst>
      <p:ext uri="{BB962C8B-B14F-4D97-AF65-F5344CB8AC3E}">
        <p14:creationId xmlns:p14="http://schemas.microsoft.com/office/powerpoint/2010/main" val="25642568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Frais A Tartine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Philadelph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6"/>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787">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787">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787">
                <a:tc>
                  <a:txBody>
                    <a:bodyPr/>
                    <a:lstStyle/>
                    <a:p>
                      <a:pPr>
                        <a:defRPr sz="900">
                          <a:latin typeface="Nexa Bold"/>
                        </a:defRPr>
                      </a:pPr>
                      <a: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787">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787">
                <a:tc>
                  <a:txBody>
                    <a:bodyPr/>
                    <a:lstStyle/>
                    <a:p>
                      <a:pPr>
                        <a:defRPr sz="900">
                          <a:latin typeface="Nexa Bold"/>
                        </a:defRPr>
                      </a:pPr>
                      <a: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787">
                <a:tc>
                  <a:txBody>
                    <a:bodyPr/>
                    <a:lstStyle/>
                    <a:p>
                      <a:pPr>
                        <a:defRPr sz="900">
                          <a:latin typeface="Nexa Bold"/>
                        </a:defRPr>
                      </a:pPr>
                      <a: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787">
                <a:tc>
                  <a:txBody>
                    <a:bodyPr/>
                    <a:lstStyle/>
                    <a:p>
                      <a:pPr>
                        <a:defRPr sz="900">
                          <a:latin typeface="Nexa Bold"/>
                        </a:defRPr>
                      </a:pPr>
                      <a:r>
                        <a:t>Philadelph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787">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78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11/2025</a:t>
            </a:fld>
            <a:endParaRPr lang="en-US"/>
          </a:p>
        </p:txBody>
      </p:sp>
    </p:spTree>
    <p:extLst>
      <p:ext uri="{BB962C8B-B14F-4D97-AF65-F5344CB8AC3E}">
        <p14:creationId xmlns:p14="http://schemas.microsoft.com/office/powerpoint/2010/main" val="30064627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Salad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470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4701">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4701">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4701">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4701">
                <a:tc>
                  <a:txBody>
                    <a:bodyPr/>
                    <a:lstStyle/>
                    <a:p>
                      <a:pPr>
                        <a:defRPr sz="900">
                          <a:latin typeface="Nexa Bold"/>
                        </a:defRPr>
                      </a:pPr>
                      <a: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4701">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47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15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155">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155">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155">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155">
                <a:tc>
                  <a:txBody>
                    <a:bodyPr/>
                    <a:lstStyle/>
                    <a:p>
                      <a:pPr>
                        <a:defRPr sz="900">
                          <a:latin typeface="Nexa Bold"/>
                        </a:defRPr>
                      </a:pPr>
                      <a: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155">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1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11/2025</a:t>
            </a:fld>
            <a:endParaRPr lang="en-US"/>
          </a:p>
        </p:txBody>
      </p:sp>
    </p:spTree>
    <p:extLst>
      <p:ext uri="{BB962C8B-B14F-4D97-AF65-F5344CB8AC3E}">
        <p14:creationId xmlns:p14="http://schemas.microsoft.com/office/powerpoint/2010/main" val="25476457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Soft Chees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Aperiti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Ingredient A Chau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Les Mousquetai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Mille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11/2025</a:t>
            </a:fld>
            <a:endParaRPr lang="en-US"/>
          </a:p>
        </p:txBody>
      </p:sp>
    </p:spTree>
    <p:extLst>
      <p:ext uri="{BB962C8B-B14F-4D97-AF65-F5344CB8AC3E}">
        <p14:creationId xmlns:p14="http://schemas.microsoft.com/office/powerpoint/2010/main" val="7344643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Soft Chees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Aperiti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Ingredient A Chau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11/2025</a:t>
            </a:fld>
            <a:endParaRPr lang="en-US"/>
          </a:p>
        </p:txBody>
      </p:sp>
    </p:spTree>
    <p:extLst>
      <p:ext uri="{BB962C8B-B14F-4D97-AF65-F5344CB8AC3E}">
        <p14:creationId xmlns:p14="http://schemas.microsoft.com/office/powerpoint/2010/main" val="42548092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Soft Chees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Aperiti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Ingredient A Chau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Les Mousquetai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Mille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11/2025</a:t>
            </a:fld>
            <a:endParaRPr lang="en-US"/>
          </a:p>
        </p:txBody>
      </p:sp>
    </p:spTree>
    <p:extLst>
      <p:ext uri="{BB962C8B-B14F-4D97-AF65-F5344CB8AC3E}">
        <p14:creationId xmlns:p14="http://schemas.microsoft.com/office/powerpoint/2010/main" val="24345561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Soft Chees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Aperiti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Ingredient A Chau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Ragu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11/2025</a:t>
            </a:fld>
            <a:endParaRPr lang="en-US"/>
          </a:p>
        </p:txBody>
      </p:sp>
    </p:spTree>
    <p:extLst>
      <p:ext uri="{BB962C8B-B14F-4D97-AF65-F5344CB8AC3E}">
        <p14:creationId xmlns:p14="http://schemas.microsoft.com/office/powerpoint/2010/main" val="9989889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Euri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Soft Cheese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23232354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Soft Chees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Aperiti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O'Tapas Ape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Leerdamm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Ingredient A Chau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11/2025</a:t>
            </a:fld>
            <a:endParaRPr lang="en-US"/>
          </a:p>
        </p:txBody>
      </p:sp>
    </p:spTree>
    <p:extLst>
      <p:ext uri="{BB962C8B-B14F-4D97-AF65-F5344CB8AC3E}">
        <p14:creationId xmlns:p14="http://schemas.microsoft.com/office/powerpoint/2010/main" val="25722062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Soft Chees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Aperiti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Ingredient A Chau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Ragu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11/2025</a:t>
            </a:fld>
            <a:endParaRPr lang="en-US"/>
          </a:p>
        </p:txBody>
      </p:sp>
    </p:spTree>
    <p:extLst>
      <p:ext uri="{BB962C8B-B14F-4D97-AF65-F5344CB8AC3E}">
        <p14:creationId xmlns:p14="http://schemas.microsoft.com/office/powerpoint/2010/main" val="18724790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nfan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Frais A Tartine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a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11/2025</a:t>
            </a:fld>
            <a:endParaRPr lang="en-US"/>
          </a:p>
        </p:txBody>
      </p:sp>
    </p:spTree>
    <p:extLst>
      <p:ext uri="{BB962C8B-B14F-4D97-AF65-F5344CB8AC3E}">
        <p14:creationId xmlns:p14="http://schemas.microsoft.com/office/powerpoint/2010/main" val="279008988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nfan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Frais A Tartine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a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11/2025</a:t>
            </a:fld>
            <a:endParaRPr lang="en-US"/>
          </a:p>
        </p:txBody>
      </p:sp>
    </p:spTree>
    <p:extLst>
      <p:ext uri="{BB962C8B-B14F-4D97-AF65-F5344CB8AC3E}">
        <p14:creationId xmlns:p14="http://schemas.microsoft.com/office/powerpoint/2010/main" val="14670052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nfan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Frais A Tartine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a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Les Mousquetai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11/2025</a:t>
            </a:fld>
            <a:endParaRPr lang="en-US"/>
          </a:p>
        </p:txBody>
      </p:sp>
    </p:spTree>
    <p:extLst>
      <p:ext uri="{BB962C8B-B14F-4D97-AF65-F5344CB8AC3E}">
        <p14:creationId xmlns:p14="http://schemas.microsoft.com/office/powerpoint/2010/main" val="13482997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nfan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Frais A Tartine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Philadelph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a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11/2025</a:t>
            </a:fld>
            <a:endParaRPr lang="en-US"/>
          </a:p>
        </p:txBody>
      </p:sp>
    </p:spTree>
    <p:extLst>
      <p:ext uri="{BB962C8B-B14F-4D97-AF65-F5344CB8AC3E}">
        <p14:creationId xmlns:p14="http://schemas.microsoft.com/office/powerpoint/2010/main" val="7961893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nfan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Frais A Tartine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Philadelph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a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11/2025</a:t>
            </a:fld>
            <a:endParaRPr lang="en-US"/>
          </a:p>
        </p:txBody>
      </p:sp>
    </p:spTree>
    <p:extLst>
      <p:ext uri="{BB962C8B-B14F-4D97-AF65-F5344CB8AC3E}">
        <p14:creationId xmlns:p14="http://schemas.microsoft.com/office/powerpoint/2010/main" val="21329475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nfan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Frais A Tartine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Philadelph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a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11/2025</a:t>
            </a:fld>
            <a:endParaRPr lang="en-US"/>
          </a:p>
        </p:txBody>
      </p:sp>
    </p:spTree>
    <p:extLst>
      <p:ext uri="{BB962C8B-B14F-4D97-AF65-F5344CB8AC3E}">
        <p14:creationId xmlns:p14="http://schemas.microsoft.com/office/powerpoint/2010/main" val="4987954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ATIONAL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Kiri</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Pate Persille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Ingredient A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Desse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Plat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Snack</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Cheese With Soft Text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84475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ATIONAL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La Vache Qui Rit</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Pate Persille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Ingredient A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Desse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Plat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Snack</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Cheese With Soft Text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334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0304">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0304">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0304">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60304">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60304">
                <a:tc>
                  <a:txBody>
                    <a:bodyPr/>
                    <a:lstStyle/>
                    <a:p>
                      <a:pPr>
                        <a:defRPr sz="900">
                          <a:latin typeface="Nexa Bold"/>
                        </a:defRPr>
                      </a:pPr>
                      <a:r>
                        <a:t>Euri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0304">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60304">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60304">
                <a:tc>
                  <a:txBody>
                    <a:bodyPr/>
                    <a:lstStyle/>
                    <a:p>
                      <a:pPr>
                        <a:defRPr sz="900">
                          <a:latin typeface="Nexa Bold"/>
                        </a:defRPr>
                      </a:pPr>
                      <a:r>
                        <a:t>Ker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6030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Soft Cheese | Carrefour</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351801609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ATIONAL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oursi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Pate Persille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Ingredient A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Desse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Plat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Snack</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Cheese With Soft Text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4528528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ATIONAL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e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Pate Persille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Ingredient A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Desse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Plat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Snack</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Cheese With Soft Text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1913003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rrefou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Kiri</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5411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54115">
                <a:tc>
                  <a:txBody>
                    <a:bodyPr/>
                    <a:lstStyle/>
                    <a:p>
                      <a:pPr>
                        <a:defRPr sz="800">
                          <a:latin typeface="Nexa Bold"/>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54115">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54115">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54115">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54115">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54115">
                <a:tc>
                  <a:txBody>
                    <a:bodyPr/>
                    <a:lstStyle/>
                    <a:p>
                      <a:pPr>
                        <a:defRPr sz="800">
                          <a:latin typeface="Nexa Bold"/>
                        </a:defRPr>
                      </a:pPr>
                      <a:r>
                        <a:t>Desse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54115">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54115">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54115">
                <a:tc>
                  <a:txBody>
                    <a:bodyPr/>
                    <a:lstStyle/>
                    <a:p>
                      <a:pPr>
                        <a:defRPr sz="800">
                          <a:latin typeface="Nexa Bold"/>
                        </a:defRPr>
                      </a:pPr>
                      <a:r>
                        <a:t>Plat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54115">
                <a:tc>
                  <a:txBody>
                    <a:bodyPr/>
                    <a:lstStyle/>
                    <a:p>
                      <a:pPr>
                        <a:defRPr sz="800">
                          <a:latin typeface="Nexa Bold"/>
                        </a:defRPr>
                      </a:pPr>
                      <a:r>
                        <a:t>Pate Persille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54115">
                <a:tc>
                  <a:txBody>
                    <a:bodyPr/>
                    <a:lstStyle/>
                    <a:p>
                      <a:pPr>
                        <a:defRPr sz="800">
                          <a:latin typeface="Nexa Bold"/>
                        </a:defRPr>
                      </a:pPr>
                      <a:r>
                        <a:t>Ingredient A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8896816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rrefou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La Vache Qui Rit</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5411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54115">
                <a:tc>
                  <a:txBody>
                    <a:bodyPr/>
                    <a:lstStyle/>
                    <a:p>
                      <a:pPr>
                        <a:defRPr sz="800">
                          <a:latin typeface="Nexa Bold"/>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54115">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54115">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54115">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54115">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54115">
                <a:tc>
                  <a:txBody>
                    <a:bodyPr/>
                    <a:lstStyle/>
                    <a:p>
                      <a:pPr>
                        <a:defRPr sz="800">
                          <a:latin typeface="Nexa Bold"/>
                        </a:defRPr>
                      </a:pPr>
                      <a:r>
                        <a:t>Desse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54115">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54115">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54115">
                <a:tc>
                  <a:txBody>
                    <a:bodyPr/>
                    <a:lstStyle/>
                    <a:p>
                      <a:pPr>
                        <a:defRPr sz="800">
                          <a:latin typeface="Nexa Bold"/>
                        </a:defRPr>
                      </a:pPr>
                      <a:r>
                        <a:t>Plat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54115">
                <a:tc>
                  <a:txBody>
                    <a:bodyPr/>
                    <a:lstStyle/>
                    <a:p>
                      <a:pPr>
                        <a:defRPr sz="800">
                          <a:latin typeface="Nexa Bold"/>
                        </a:defRPr>
                      </a:pPr>
                      <a:r>
                        <a:t>Pate Persille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54115">
                <a:tc>
                  <a:txBody>
                    <a:bodyPr/>
                    <a:lstStyle/>
                    <a:p>
                      <a:pPr>
                        <a:defRPr sz="800">
                          <a:latin typeface="Nexa Bold"/>
                        </a:defRPr>
                      </a:pPr>
                      <a:r>
                        <a:t>Ingredient A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50464560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rrefou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oursi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5411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54115">
                <a:tc>
                  <a:txBody>
                    <a:bodyPr/>
                    <a:lstStyle/>
                    <a:p>
                      <a:pPr>
                        <a:defRPr sz="800">
                          <a:latin typeface="Nexa Bold"/>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54115">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54115">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54115">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54115">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54115">
                <a:tc>
                  <a:txBody>
                    <a:bodyPr/>
                    <a:lstStyle/>
                    <a:p>
                      <a:pPr>
                        <a:defRPr sz="800">
                          <a:latin typeface="Nexa Bold"/>
                        </a:defRPr>
                      </a:pPr>
                      <a:r>
                        <a:t>Desse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54115">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54115">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54115">
                <a:tc>
                  <a:txBody>
                    <a:bodyPr/>
                    <a:lstStyle/>
                    <a:p>
                      <a:pPr>
                        <a:defRPr sz="800">
                          <a:latin typeface="Nexa Bold"/>
                        </a:defRPr>
                      </a:pPr>
                      <a:r>
                        <a:t>Plat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54115">
                <a:tc>
                  <a:txBody>
                    <a:bodyPr/>
                    <a:lstStyle/>
                    <a:p>
                      <a:pPr>
                        <a:defRPr sz="800">
                          <a:latin typeface="Nexa Bold"/>
                        </a:defRPr>
                      </a:pPr>
                      <a:r>
                        <a:t>Pate Persille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54115">
                <a:tc>
                  <a:txBody>
                    <a:bodyPr/>
                    <a:lstStyle/>
                    <a:p>
                      <a:pPr>
                        <a:defRPr sz="800">
                          <a:latin typeface="Nexa Bold"/>
                        </a:defRPr>
                      </a:pPr>
                      <a:r>
                        <a:t>Ingredient A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0229570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rrefou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e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5411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54115">
                <a:tc>
                  <a:txBody>
                    <a:bodyPr/>
                    <a:lstStyle/>
                    <a:p>
                      <a:pPr>
                        <a:defRPr sz="800">
                          <a:latin typeface="Nexa Bold"/>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54115">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54115">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54115">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54115">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54115">
                <a:tc>
                  <a:txBody>
                    <a:bodyPr/>
                    <a:lstStyle/>
                    <a:p>
                      <a:pPr>
                        <a:defRPr sz="800">
                          <a:latin typeface="Nexa Bold"/>
                        </a:defRPr>
                      </a:pPr>
                      <a:r>
                        <a:t>Desse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54115">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54115">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54115">
                <a:tc>
                  <a:txBody>
                    <a:bodyPr/>
                    <a:lstStyle/>
                    <a:p>
                      <a:pPr>
                        <a:defRPr sz="800">
                          <a:latin typeface="Nexa Bold"/>
                        </a:defRPr>
                      </a:pPr>
                      <a:r>
                        <a:t>Plat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54115">
                <a:tc>
                  <a:txBody>
                    <a:bodyPr/>
                    <a:lstStyle/>
                    <a:p>
                      <a:pPr>
                        <a:defRPr sz="800">
                          <a:latin typeface="Nexa Bold"/>
                        </a:defRPr>
                      </a:pPr>
                      <a:r>
                        <a:t>Pate Persille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54115">
                <a:tc>
                  <a:txBody>
                    <a:bodyPr/>
                    <a:lstStyle/>
                    <a:p>
                      <a:pPr>
                        <a:defRPr sz="800">
                          <a:latin typeface="Nexa Bold"/>
                        </a:defRPr>
                      </a:pPr>
                      <a:r>
                        <a:t>Ingredient A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71023062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Intermarche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Kiri</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Pate Persille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Ingredient A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Desse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Plat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Snack</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Cheese With Soft Text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3059118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Intermarche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La Vache Qui Rit</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Pate Persille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Ingredient A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Desse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Plat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Snack</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Cheese With Soft Text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291698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Intermarche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oursi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Pate Persille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Ingredient A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Desse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Plat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Snack</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Cheese With Soft Text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6700056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Intermarche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e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Pate Persille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Ingredient A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Desse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Plat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Snack</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Cheese With Soft Text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573495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Euri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Soft Cheese | Intermarch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90513292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ATIONAL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Kiri</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Classi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Chev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Breb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Pate Persille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Ingredient A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690243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ATIONAL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La Vache Qui Rit</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Classi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Chev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Breb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Pate Persille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Ingredient A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448225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ATIONAL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oursi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Classi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Chev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Breb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Pate Persille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Ingredient A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05060026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ATIONAL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e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Classi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Chev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Breb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Pate Persille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Ingredient A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123059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rrefou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Kiri</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Classi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Chev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Breb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Desse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4706708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rrefou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La Vache Qui Rit</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Classi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Chev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Breb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Desse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81680285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rrefou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oursi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Classi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Chev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Breb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Desse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8412253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rrefou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e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Classi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Chev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Breb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Desse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345956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Intermarche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Kiri</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Classi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Chev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Pate Persille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Ingredient A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Desse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98018404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Intermarche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La Vache Qui Rit</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Classi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Chev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Pate Persille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Ingredient A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Desse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796970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peritif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150587654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Intermarche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oursi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Classi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Chev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Pate Persille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Ingredient A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Desse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1664459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Intermarche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e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Ra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Classi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Blo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Speciali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Chev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Tranche A Fro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Pate Persille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Ingredient A Chau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Desse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11/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4206471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Total Fromag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Kiri</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205815179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Total Fromag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La Vache Qui Ri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30061674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Total Fromag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oursi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264214990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Total Fromag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e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77802155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oft Chees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Kiri</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163327435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oft Chees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La Vache Qui Ri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143289724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oft Chees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oursi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147077517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oft Chees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e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24150289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peritif | Carrefour</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O'Tapas Ape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Leerdamm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103455067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Aperitif</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oursi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18138497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Aperitif</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e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154103398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Ingredient A Chaud</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La Vache Qui Ri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389318820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Ingredient A Chaud</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oursi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57329931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Ingredient A Chaud</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e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81057257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nfant</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Kiri</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245777755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nfant</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La Vache Qui Ri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216353949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nfant</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e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236607171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Frais A Tartiner</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Kiri</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280701298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Frais A Tartiner</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La Vache Qui Ri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1712335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peritif | Intermarch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257691849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Frais A Tartiner</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oursi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84474897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Frais A Tartiner</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e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243471409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a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oursi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415500083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a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e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11/2025</a:t>
            </a:fld>
            <a:endParaRPr lang="en-US"/>
          </a:p>
        </p:txBody>
      </p:sp>
    </p:spTree>
    <p:extLst>
      <p:ext uri="{BB962C8B-B14F-4D97-AF65-F5344CB8AC3E}">
        <p14:creationId xmlns:p14="http://schemas.microsoft.com/office/powerpoint/2010/main" val="419882521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70732766"/>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Total Fromage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29"/>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76133">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Intermarche</a:t>
                      </a:r>
                    </a:p>
                  </a:txBody>
                  <a:tcPr marL="36000" marR="36000" marT="4763" marB="0" anchor="ctr">
                    <a:solidFill>
                      <a:srgbClr val="FFBFBF"/>
                    </a:solidFill>
                  </a:tcPr>
                </a:tc>
                <a:extLst>
                  <a:ext uri="{0D108BD9-81ED-4DB2-BD59-A6C34878D82A}">
                    <a16:rowId xmlns:a16="http://schemas.microsoft.com/office/drawing/2014/main" val="3518559538"/>
                  </a:ext>
                </a:extLst>
              </a:tr>
              <a:tr h="276133">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Carrefour</a:t>
                      </a:r>
                    </a:p>
                  </a:txBody>
                  <a:tcPr marL="36000" marR="36000" marT="4763" marB="0" anchor="ctr">
                    <a:solidFill>
                      <a:srgbClr val="FFBFBF"/>
                    </a:solidFill>
                  </a:tcPr>
                </a:tc>
                <a:extLst>
                  <a:ext uri="{0D108BD9-81ED-4DB2-BD59-A6C34878D82A}">
                    <a16:rowId xmlns:a16="http://schemas.microsoft.com/office/drawing/2014/main" val="3886752891"/>
                  </a:ext>
                </a:extLst>
              </a:tr>
              <a:tr h="276133">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Carrefour</a:t>
                      </a:r>
                    </a:p>
                  </a:txBody>
                  <a:tcPr marL="36000" marR="36000" marT="4763" marB="0" anchor="ctr">
                    <a:solidFill>
                      <a:srgbClr val="CBEAE7"/>
                    </a:solidFill>
                  </a:tcPr>
                </a:tc>
                <a:extLst>
                  <a:ext uri="{0D108BD9-81ED-4DB2-BD59-A6C34878D82A}">
                    <a16:rowId xmlns:a16="http://schemas.microsoft.com/office/drawing/2014/main" val="3477306869"/>
                  </a:ext>
                </a:extLst>
              </a:tr>
              <a:tr h="276133">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President/Intermarche</a:t>
                      </a:r>
                    </a:p>
                  </a:txBody>
                  <a:tcPr marL="36000" marR="36000" marT="4763" marB="0" anchor="ctr">
                    <a:solidFill>
                      <a:srgbClr val="FFBFBF"/>
                    </a:solidFill>
                  </a:tcPr>
                </a:tc>
                <a:extLst>
                  <a:ext uri="{0D108BD9-81ED-4DB2-BD59-A6C34878D82A}">
                    <a16:rowId xmlns:a16="http://schemas.microsoft.com/office/drawing/2014/main" val="264026324"/>
                  </a:ext>
                </a:extLst>
              </a:tr>
              <a:tr h="276133">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President/Carrefour</a:t>
                      </a:r>
                    </a:p>
                  </a:txBody>
                  <a:tcPr marL="36000" marR="36000" marT="4763" marB="0" anchor="ctr">
                    <a:solidFill>
                      <a:srgbClr val="FFBFBF"/>
                    </a:solidFill>
                  </a:tcPr>
                </a:tc>
                <a:extLst>
                  <a:ext uri="{0D108BD9-81ED-4DB2-BD59-A6C34878D82A}">
                    <a16:rowId xmlns:a16="http://schemas.microsoft.com/office/drawing/2014/main" val="613793393"/>
                  </a:ext>
                </a:extLst>
              </a:tr>
              <a:tr h="276133">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Entremont/Intermarche</a:t>
                      </a:r>
                    </a:p>
                  </a:txBody>
                  <a:tcPr marL="36000" marR="36000" marT="4763" marB="0" anchor="ctr">
                    <a:solidFill>
                      <a:srgbClr val="FFBFBF"/>
                    </a:solidFill>
                  </a:tcPr>
                </a:tc>
                <a:extLst>
                  <a:ext uri="{0D108BD9-81ED-4DB2-BD59-A6C34878D82A}">
                    <a16:rowId xmlns:a16="http://schemas.microsoft.com/office/drawing/2014/main" val="4246246309"/>
                  </a:ext>
                </a:extLst>
              </a:tr>
              <a:tr h="276133">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Intermarche</a:t>
                      </a:r>
                    </a:p>
                  </a:txBody>
                  <a:tcPr marL="36000" marR="36000" marT="4763" marB="0" anchor="ctr">
                    <a:solidFill>
                      <a:srgbClr val="CBEAE7"/>
                    </a:solidFill>
                  </a:tcPr>
                </a:tc>
                <a:extLst>
                  <a:ext uri="{0D108BD9-81ED-4DB2-BD59-A6C34878D82A}">
                    <a16:rowId xmlns:a16="http://schemas.microsoft.com/office/drawing/2014/main" val="418503086"/>
                  </a:ext>
                </a:extLst>
              </a:tr>
              <a:tr h="276133">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Carrefour</a:t>
                      </a:r>
                    </a:p>
                  </a:txBody>
                  <a:tcPr marL="36000" marR="36000" marT="4763" marB="0" anchor="ctr">
                    <a:solidFill>
                      <a:srgbClr val="CBEAE7"/>
                    </a:solidFill>
                  </a:tcPr>
                </a:tc>
                <a:extLst>
                  <a:ext uri="{0D108BD9-81ED-4DB2-BD59-A6C34878D82A}">
                    <a16:rowId xmlns:a16="http://schemas.microsoft.com/office/drawing/2014/main" val="381854689"/>
                  </a:ext>
                </a:extLst>
              </a:tr>
              <a:tr h="276133">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Kiri/Carrefour</a:t>
                      </a:r>
                    </a:p>
                  </a:txBody>
                  <a:tcPr marL="36000" marR="36000" marT="4763" marB="0" anchor="ctr">
                    <a:solidFill>
                      <a:srgbClr val="CBEAE7"/>
                    </a:solidFill>
                  </a:tcPr>
                </a:tc>
                <a:extLst>
                  <a:ext uri="{0D108BD9-81ED-4DB2-BD59-A6C34878D82A}">
                    <a16:rowId xmlns:a16="http://schemas.microsoft.com/office/drawing/2014/main" val="362768916"/>
                  </a:ext>
                </a:extLst>
              </a:tr>
              <a:tr h="276133">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Intermarche</a:t>
                      </a:r>
                    </a:p>
                  </a:txBody>
                  <a:tcPr marL="36000" marR="36000" marT="4763" marB="0" anchor="ctr">
                    <a:solidFill>
                      <a:srgbClr val="CBEAE7"/>
                    </a:solidFill>
                  </a:tcPr>
                </a:tc>
                <a:extLst>
                  <a:ext uri="{0D108BD9-81ED-4DB2-BD59-A6C34878D82A}">
                    <a16:rowId xmlns:a16="http://schemas.microsoft.com/office/drawing/2014/main" val="1139766948"/>
                  </a:ext>
                </a:extLst>
              </a:tr>
              <a:tr h="276133">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Boursin/Intermarche</a:t>
                      </a:r>
                    </a:p>
                  </a:txBody>
                  <a:tcPr marL="36000" marR="36000" marT="4763" marB="0" anchor="ctr">
                    <a:solidFill>
                      <a:srgbClr val="FFBFBF"/>
                    </a:solidFill>
                  </a:tcPr>
                </a:tc>
                <a:extLst>
                  <a:ext uri="{0D108BD9-81ED-4DB2-BD59-A6C34878D82A}">
                    <a16:rowId xmlns:a16="http://schemas.microsoft.com/office/drawing/2014/main" val="1687090376"/>
                  </a:ext>
                </a:extLst>
              </a:tr>
              <a:tr h="276133">
                <a:tc>
                  <a:txBody>
                    <a:bodyPr/>
                    <a:lstStyle/>
                    <a:p>
                      <a:pPr algn="ctr">
                        <a:defRPr sz="900">
                          <a:latin typeface="Nexa Book (Body)"/>
                        </a:defRPr>
                      </a:pPr>
                      <a:r>
                        <a:rPr sz="900">
                          <a:latin typeface="Nexa Book (Body)"/>
                        </a:rPr>
                        <a:t>12</a:t>
                      </a:r>
                    </a:p>
                  </a:txBody>
                  <a:tcPr marL="36000" marR="36000" marT="4763" marB="0" anchor="ctr">
                    <a:solidFill>
                      <a:srgbClr val="CBEAE7"/>
                    </a:solidFill>
                  </a:tcPr>
                </a:tc>
                <a:tc>
                  <a:txBody>
                    <a:bodyPr/>
                    <a:lstStyle/>
                    <a:p>
                      <a:pPr algn="l">
                        <a:defRPr sz="900">
                          <a:latin typeface="Nexa Book (Body)"/>
                        </a:defRPr>
                      </a:pPr>
                      <a:r>
                        <a:rPr sz="900">
                          <a:latin typeface="Nexa Book (Body)"/>
                        </a:rPr>
                        <a:t>Boursin/Carrefour</a:t>
                      </a:r>
                    </a:p>
                  </a:txBody>
                  <a:tcPr marL="36000" marR="36000" marT="4763" marB="0" anchor="ctr">
                    <a:solidFill>
                      <a:srgbClr val="CBEAE7"/>
                    </a:solidFill>
                  </a:tcPr>
                </a:tc>
                <a:extLst>
                  <a:ext uri="{0D108BD9-81ED-4DB2-BD59-A6C34878D82A}">
                    <a16:rowId xmlns:a16="http://schemas.microsoft.com/office/drawing/2014/main" val="1182192680"/>
                  </a:ext>
                </a:extLst>
              </a:tr>
              <a:tr h="276133">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Kiri/Intermarche</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11/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4961681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03526973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Soft Cheese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5641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Carrefour</a:t>
                      </a:r>
                    </a:p>
                  </a:txBody>
                  <a:tcPr marL="36000" marR="36000" marT="4763" marB="0" anchor="ctr">
                    <a:solidFill>
                      <a:srgbClr val="CBEAE7"/>
                    </a:solidFill>
                  </a:tcPr>
                </a:tc>
                <a:extLst>
                  <a:ext uri="{0D108BD9-81ED-4DB2-BD59-A6C34878D82A}">
                    <a16:rowId xmlns:a16="http://schemas.microsoft.com/office/drawing/2014/main" val="3049926520"/>
                  </a:ext>
                </a:extLst>
              </a:tr>
              <a:tr h="256410">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Intermarche</a:t>
                      </a:r>
                    </a:p>
                  </a:txBody>
                  <a:tcPr marL="36000" marR="36000" marT="4763" marB="0" anchor="ctr">
                    <a:solidFill>
                      <a:srgbClr val="FFBFBF"/>
                    </a:solidFill>
                  </a:tcPr>
                </a:tc>
                <a:extLst>
                  <a:ext uri="{0D108BD9-81ED-4DB2-BD59-A6C34878D82A}">
                    <a16:rowId xmlns:a16="http://schemas.microsoft.com/office/drawing/2014/main" val="3518559538"/>
                  </a:ext>
                </a:extLst>
              </a:tr>
              <a:tr h="256410">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Carrefour</a:t>
                      </a:r>
                    </a:p>
                  </a:txBody>
                  <a:tcPr marL="36000" marR="36000" marT="4763" marB="0" anchor="ctr">
                    <a:solidFill>
                      <a:srgbClr val="CBEAE7"/>
                    </a:solidFill>
                  </a:tcPr>
                </a:tc>
                <a:extLst>
                  <a:ext uri="{0D108BD9-81ED-4DB2-BD59-A6C34878D82A}">
                    <a16:rowId xmlns:a16="http://schemas.microsoft.com/office/drawing/2014/main" val="3886752891"/>
                  </a:ext>
                </a:extLst>
              </a:tr>
              <a:tr h="256410">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President/Carrefour</a:t>
                      </a:r>
                    </a:p>
                  </a:txBody>
                  <a:tcPr marL="36000" marR="36000" marT="4763" marB="0" anchor="ctr">
                    <a:solidFill>
                      <a:srgbClr val="FFBFBF"/>
                    </a:solidFill>
                  </a:tcPr>
                </a:tc>
                <a:extLst>
                  <a:ext uri="{0D108BD9-81ED-4DB2-BD59-A6C34878D82A}">
                    <a16:rowId xmlns:a16="http://schemas.microsoft.com/office/drawing/2014/main" val="3477306869"/>
                  </a:ext>
                </a:extLst>
              </a:tr>
              <a:tr h="256410">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President/Intermarche</a:t>
                      </a:r>
                    </a:p>
                  </a:txBody>
                  <a:tcPr marL="36000" marR="36000" marT="4763" marB="0" anchor="ctr">
                    <a:solidFill>
                      <a:srgbClr val="FFBFBF"/>
                    </a:solidFill>
                  </a:tcPr>
                </a:tc>
                <a:extLst>
                  <a:ext uri="{0D108BD9-81ED-4DB2-BD59-A6C34878D82A}">
                    <a16:rowId xmlns:a16="http://schemas.microsoft.com/office/drawing/2014/main" val="264026324"/>
                  </a:ext>
                </a:extLst>
              </a:tr>
              <a:tr h="25641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Soignon/Carrefour</a:t>
                      </a:r>
                    </a:p>
                  </a:txBody>
                  <a:tcPr marL="36000" marR="36000" marT="4763" marB="0" anchor="ctr">
                    <a:solidFill>
                      <a:srgbClr val="FFBFBF"/>
                    </a:solidFill>
                  </a:tcPr>
                </a:tc>
                <a:extLst>
                  <a:ext uri="{0D108BD9-81ED-4DB2-BD59-A6C34878D82A}">
                    <a16:rowId xmlns:a16="http://schemas.microsoft.com/office/drawing/2014/main" val="613793393"/>
                  </a:ext>
                </a:extLst>
              </a:tr>
              <a:tr h="25641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Soignon/Intermarche</a:t>
                      </a:r>
                    </a:p>
                  </a:txBody>
                  <a:tcPr marL="36000" marR="36000" marT="4763" marB="0" anchor="ctr">
                    <a:solidFill>
                      <a:srgbClr val="FFBFBF"/>
                    </a:solidFill>
                  </a:tcPr>
                </a:tc>
                <a:extLst>
                  <a:ext uri="{0D108BD9-81ED-4DB2-BD59-A6C34878D82A}">
                    <a16:rowId xmlns:a16="http://schemas.microsoft.com/office/drawing/2014/main" val="4246246309"/>
                  </a:ext>
                </a:extLst>
              </a:tr>
              <a:tr h="256410">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Intermarche</a:t>
                      </a:r>
                    </a:p>
                  </a:txBody>
                  <a:tcPr marL="36000" marR="36000" marT="4763" marB="0" anchor="ctr">
                    <a:solidFill>
                      <a:srgbClr val="CBEAE7"/>
                    </a:solidFill>
                  </a:tcPr>
                </a:tc>
                <a:extLst>
                  <a:ext uri="{0D108BD9-81ED-4DB2-BD59-A6C34878D82A}">
                    <a16:rowId xmlns:a16="http://schemas.microsoft.com/office/drawing/2014/main" val="418503086"/>
                  </a:ext>
                </a:extLst>
              </a:tr>
              <a:tr h="256410">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La Vache Qui Rit/Carrefour</a:t>
                      </a:r>
                    </a:p>
                  </a:txBody>
                  <a:tcPr marL="36000" marR="36000" marT="4763" marB="0" anchor="ctr">
                    <a:solidFill>
                      <a:srgbClr val="FFBFBF"/>
                    </a:solidFill>
                  </a:tcPr>
                </a:tc>
                <a:extLst>
                  <a:ext uri="{0D108BD9-81ED-4DB2-BD59-A6C34878D82A}">
                    <a16:rowId xmlns:a16="http://schemas.microsoft.com/office/drawing/2014/main" val="381854689"/>
                  </a:ext>
                </a:extLst>
              </a:tr>
              <a:tr h="256410">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Kiri/Carrefour</a:t>
                      </a:r>
                    </a:p>
                  </a:txBody>
                  <a:tcPr marL="36000" marR="36000" marT="4763" marB="0" anchor="ctr">
                    <a:solidFill>
                      <a:srgbClr val="FFBFBF"/>
                    </a:solidFill>
                  </a:tcPr>
                </a:tc>
                <a:extLst>
                  <a:ext uri="{0D108BD9-81ED-4DB2-BD59-A6C34878D82A}">
                    <a16:rowId xmlns:a16="http://schemas.microsoft.com/office/drawing/2014/main" val="362768916"/>
                  </a:ext>
                </a:extLst>
              </a:tr>
              <a:tr h="256410">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Intermarche</a:t>
                      </a:r>
                    </a:p>
                  </a:txBody>
                  <a:tcPr marL="36000" marR="36000" marT="4763" marB="0" anchor="ctr">
                    <a:solidFill>
                      <a:srgbClr val="CBEAE7"/>
                    </a:solidFill>
                  </a:tcPr>
                </a:tc>
                <a:extLst>
                  <a:ext uri="{0D108BD9-81ED-4DB2-BD59-A6C34878D82A}">
                    <a16:rowId xmlns:a16="http://schemas.microsoft.com/office/drawing/2014/main" val="1139766948"/>
                  </a:ext>
                </a:extLst>
              </a:tr>
              <a:tr h="256410">
                <a:tc>
                  <a:txBody>
                    <a:bodyPr/>
                    <a:lstStyle/>
                    <a:p>
                      <a:pPr algn="ctr">
                        <a:defRPr sz="900">
                          <a:latin typeface="Nexa Book (Body)"/>
                        </a:defRPr>
                      </a:pPr>
                      <a:r>
                        <a:rPr sz="900">
                          <a:latin typeface="Nexa Book (Body)"/>
                        </a:rPr>
                        <a:t>12</a:t>
                      </a:r>
                    </a:p>
                  </a:txBody>
                  <a:tcPr marL="36000" marR="36000" marT="4763" marB="0" anchor="ctr">
                    <a:solidFill>
                      <a:srgbClr val="F2F2F2"/>
                    </a:solidFill>
                  </a:tcPr>
                </a:tc>
                <a:tc>
                  <a:txBody>
                    <a:bodyPr/>
                    <a:lstStyle/>
                    <a:p>
                      <a:pPr algn="l">
                        <a:defRPr sz="900">
                          <a:latin typeface="Nexa Book (Body)"/>
                        </a:defRPr>
                      </a:pPr>
                      <a:r>
                        <a:rPr sz="900">
                          <a:latin typeface="Nexa Book (Body)"/>
                        </a:rPr>
                        <a:t>Kiri/Intermarche</a:t>
                      </a:r>
                    </a:p>
                  </a:txBody>
                  <a:tcPr marL="36000" marR="36000" marT="4763" marB="0" anchor="ctr">
                    <a:solidFill>
                      <a:srgbClr val="F2F2F2"/>
                    </a:solidFill>
                  </a:tcPr>
                </a:tc>
                <a:extLst>
                  <a:ext uri="{0D108BD9-81ED-4DB2-BD59-A6C34878D82A}">
                    <a16:rowId xmlns:a16="http://schemas.microsoft.com/office/drawing/2014/main" val="1687090376"/>
                  </a:ext>
                </a:extLst>
              </a:tr>
              <a:tr h="256410">
                <a:tc>
                  <a:txBody>
                    <a:bodyPr/>
                    <a:lstStyle/>
                    <a:p>
                      <a:pPr algn="ctr">
                        <a:defRPr sz="900">
                          <a:latin typeface="Nexa Book (Body)"/>
                        </a:defRPr>
                      </a:pPr>
                      <a:r>
                        <a:rPr sz="900">
                          <a:latin typeface="Nexa Book (Body)"/>
                        </a:rPr>
                        <a:t>13</a:t>
                      </a:r>
                    </a:p>
                  </a:txBody>
                  <a:tcPr marL="36000" marR="36000" marT="4763" marB="0" anchor="ctr">
                    <a:solidFill>
                      <a:srgbClr val="F2F2F2"/>
                    </a:solidFill>
                  </a:tcPr>
                </a:tc>
                <a:tc>
                  <a:txBody>
                    <a:bodyPr/>
                    <a:lstStyle/>
                    <a:p>
                      <a:pPr algn="l">
                        <a:defRPr sz="900">
                          <a:latin typeface="Nexa Book (Body)"/>
                        </a:defRPr>
                      </a:pPr>
                      <a:r>
                        <a:rPr sz="900">
                          <a:latin typeface="Nexa Book (Body)"/>
                        </a:rPr>
                        <a:t>Boursin/Intermarche</a:t>
                      </a:r>
                    </a:p>
                  </a:txBody>
                  <a:tcPr marL="36000" marR="36000" marT="4763" marB="0" anchor="ctr">
                    <a:solidFill>
                      <a:srgbClr val="F2F2F2"/>
                    </a:solidFill>
                  </a:tcPr>
                </a:tc>
                <a:extLst>
                  <a:ext uri="{0D108BD9-81ED-4DB2-BD59-A6C34878D82A}">
                    <a16:rowId xmlns:a16="http://schemas.microsoft.com/office/drawing/2014/main" val="1182192680"/>
                  </a:ext>
                </a:extLst>
              </a:tr>
              <a:tr h="256410">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Boursin/Carrefour</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11/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4786768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475390453"/>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Aperitif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58974">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Apericube/Carrefour</a:t>
                      </a:r>
                    </a:p>
                  </a:txBody>
                  <a:tcPr marL="36000" marR="36000" marT="4763" marB="0" anchor="ctr">
                    <a:solidFill>
                      <a:srgbClr val="CBEAE7"/>
                    </a:solidFill>
                  </a:tcPr>
                </a:tc>
                <a:extLst>
                  <a:ext uri="{0D108BD9-81ED-4DB2-BD59-A6C34878D82A}">
                    <a16:rowId xmlns:a16="http://schemas.microsoft.com/office/drawing/2014/main" val="264026324"/>
                  </a:ext>
                </a:extLst>
              </a:tr>
              <a:tr h="358974">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Apericube/Intermarche</a:t>
                      </a:r>
                    </a:p>
                  </a:txBody>
                  <a:tcPr marL="36000" marR="36000" marT="4763" marB="0" anchor="ctr">
                    <a:solidFill>
                      <a:srgbClr val="FFBFBF"/>
                    </a:solidFill>
                  </a:tcPr>
                </a:tc>
                <a:extLst>
                  <a:ext uri="{0D108BD9-81ED-4DB2-BD59-A6C34878D82A}">
                    <a16:rowId xmlns:a16="http://schemas.microsoft.com/office/drawing/2014/main" val="613793393"/>
                  </a:ext>
                </a:extLst>
              </a:tr>
              <a:tr h="358974">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Aperivrais/Carrefour</a:t>
                      </a:r>
                    </a:p>
                  </a:txBody>
                  <a:tcPr marL="36000" marR="36000" marT="4763" marB="0" anchor="ctr">
                    <a:solidFill>
                      <a:srgbClr val="FFBFBF"/>
                    </a:solidFill>
                  </a:tcPr>
                </a:tc>
                <a:extLst>
                  <a:ext uri="{0D108BD9-81ED-4DB2-BD59-A6C34878D82A}">
                    <a16:rowId xmlns:a16="http://schemas.microsoft.com/office/drawing/2014/main" val="4246246309"/>
                  </a:ext>
                </a:extLst>
              </a:tr>
              <a:tr h="358974">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Aperivrais/Intermarche</a:t>
                      </a:r>
                    </a:p>
                  </a:txBody>
                  <a:tcPr marL="36000" marR="36000" marT="4763" marB="0" anchor="ctr">
                    <a:solidFill>
                      <a:srgbClr val="F2F2F2"/>
                    </a:solidFill>
                  </a:tcPr>
                </a:tc>
                <a:extLst>
                  <a:ext uri="{0D108BD9-81ED-4DB2-BD59-A6C34878D82A}">
                    <a16:rowId xmlns:a16="http://schemas.microsoft.com/office/drawing/2014/main" val="418503086"/>
                  </a:ext>
                </a:extLst>
              </a:tr>
              <a:tr h="358974">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Boursin/Intermarche</a:t>
                      </a:r>
                    </a:p>
                  </a:txBody>
                  <a:tcPr marL="36000" marR="36000" marT="4763" marB="0" anchor="ctr">
                    <a:solidFill>
                      <a:srgbClr val="FFBFBF"/>
                    </a:solidFill>
                  </a:tcPr>
                </a:tc>
                <a:extLst>
                  <a:ext uri="{0D108BD9-81ED-4DB2-BD59-A6C34878D82A}">
                    <a16:rowId xmlns:a16="http://schemas.microsoft.com/office/drawing/2014/main" val="381854689"/>
                  </a:ext>
                </a:extLst>
              </a:tr>
              <a:tr h="358974">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Boursin/Carrefour</a:t>
                      </a:r>
                    </a:p>
                  </a:txBody>
                  <a:tcPr marL="36000" marR="36000" marT="4763" marB="0" anchor="ctr">
                    <a:solidFill>
                      <a:srgbClr val="CBEAE7"/>
                    </a:solidFill>
                  </a:tcPr>
                </a:tc>
                <a:extLst>
                  <a:ext uri="{0D108BD9-81ED-4DB2-BD59-A6C34878D82A}">
                    <a16:rowId xmlns:a16="http://schemas.microsoft.com/office/drawing/2014/main" val="362768916"/>
                  </a:ext>
                </a:extLst>
              </a:tr>
              <a:tr h="358974">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St Moret/Intermarche</a:t>
                      </a:r>
                    </a:p>
                  </a:txBody>
                  <a:tcPr marL="36000" marR="36000" marT="4763" marB="0" anchor="ctr">
                    <a:solidFill>
                      <a:srgbClr val="CBEAE7"/>
                    </a:solidFill>
                  </a:tcPr>
                </a:tc>
                <a:extLst>
                  <a:ext uri="{0D108BD9-81ED-4DB2-BD59-A6C34878D82A}">
                    <a16:rowId xmlns:a16="http://schemas.microsoft.com/office/drawing/2014/main" val="1139766948"/>
                  </a:ext>
                </a:extLst>
              </a:tr>
              <a:tr h="358974">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Intermarche</a:t>
                      </a:r>
                    </a:p>
                  </a:txBody>
                  <a:tcPr marL="36000" marR="36000" marT="4763" marB="0" anchor="ctr">
                    <a:solidFill>
                      <a:srgbClr val="CBEAE7"/>
                    </a:solidFill>
                  </a:tcPr>
                </a:tc>
                <a:extLst>
                  <a:ext uri="{0D108BD9-81ED-4DB2-BD59-A6C34878D82A}">
                    <a16:rowId xmlns:a16="http://schemas.microsoft.com/office/drawing/2014/main" val="1687090376"/>
                  </a:ext>
                </a:extLst>
              </a:tr>
              <a:tr h="358974">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Carrefour</a:t>
                      </a:r>
                    </a:p>
                  </a:txBody>
                  <a:tcPr marL="36000" marR="36000" marT="4763" marB="0" anchor="ctr">
                    <a:solidFill>
                      <a:srgbClr val="FFBFBF"/>
                    </a:solidFill>
                  </a:tcPr>
                </a:tc>
                <a:extLst>
                  <a:ext uri="{0D108BD9-81ED-4DB2-BD59-A6C34878D82A}">
                    <a16:rowId xmlns:a16="http://schemas.microsoft.com/office/drawing/2014/main" val="1182192680"/>
                  </a:ext>
                </a:extLst>
              </a:tr>
              <a:tr h="358974">
                <a:tc>
                  <a:txBody>
                    <a:bodyPr/>
                    <a:lstStyle/>
                    <a:p>
                      <a:pPr algn="ctr">
                        <a:defRPr sz="900">
                          <a:latin typeface="Nexa Book (Body)"/>
                        </a:defRPr>
                      </a:pPr>
                      <a:r>
                        <a:rPr sz="900">
                          <a:latin typeface="Nexa Book (Body)"/>
                        </a:rPr>
                        <a:t>10</a:t>
                      </a:r>
                    </a:p>
                  </a:txBody>
                  <a:tcPr marL="36000" marR="36000" marT="4763" marB="0" anchor="ctr">
                    <a:solidFill>
                      <a:srgbClr val="F2F2F2"/>
                    </a:solidFill>
                  </a:tcPr>
                </a:tc>
                <a:tc>
                  <a:txBody>
                    <a:bodyPr/>
                    <a:lstStyle/>
                    <a:p>
                      <a:pPr algn="l">
                        <a:defRPr sz="900">
                          <a:latin typeface="Nexa Book (Body)"/>
                        </a:defRPr>
                      </a:pPr>
                      <a:r>
                        <a:rPr sz="900">
                          <a:latin typeface="Nexa Book (Body)"/>
                        </a:rPr>
                        <a:t>St Moret/Carrefour</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11/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4057816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156879841"/>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Ingredient A Chaud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2634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Private Label/Intermarche</a:t>
                      </a:r>
                    </a:p>
                  </a:txBody>
                  <a:tcPr marL="36000" marR="36000" marT="4763" marB="0" anchor="ctr">
                    <a:solidFill>
                      <a:srgbClr val="F2F2F2"/>
                    </a:solidFill>
                  </a:tcPr>
                </a:tc>
                <a:extLst>
                  <a:ext uri="{0D108BD9-81ED-4DB2-BD59-A6C34878D82A}">
                    <a16:rowId xmlns:a16="http://schemas.microsoft.com/office/drawing/2014/main" val="3477306869"/>
                  </a:ext>
                </a:extLst>
              </a:tr>
              <a:tr h="32634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President/Intermarche</a:t>
                      </a:r>
                    </a:p>
                  </a:txBody>
                  <a:tcPr marL="36000" marR="36000" marT="4763" marB="0" anchor="ctr">
                    <a:solidFill>
                      <a:srgbClr val="F2F2F2"/>
                    </a:solidFill>
                  </a:tcPr>
                </a:tc>
                <a:extLst>
                  <a:ext uri="{0D108BD9-81ED-4DB2-BD59-A6C34878D82A}">
                    <a16:rowId xmlns:a16="http://schemas.microsoft.com/office/drawing/2014/main" val="264026324"/>
                  </a:ext>
                </a:extLst>
              </a:tr>
              <a:tr h="326340">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Private Label/Carrefour</a:t>
                      </a:r>
                    </a:p>
                  </a:txBody>
                  <a:tcPr marL="36000" marR="36000" marT="4763" marB="0" anchor="ctr">
                    <a:solidFill>
                      <a:srgbClr val="F2F2F2"/>
                    </a:solidFill>
                  </a:tcPr>
                </a:tc>
                <a:extLst>
                  <a:ext uri="{0D108BD9-81ED-4DB2-BD59-A6C34878D82A}">
                    <a16:rowId xmlns:a16="http://schemas.microsoft.com/office/drawing/2014/main" val="613793393"/>
                  </a:ext>
                </a:extLst>
              </a:tr>
              <a:tr h="326340">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President/Carrefour</a:t>
                      </a:r>
                    </a:p>
                  </a:txBody>
                  <a:tcPr marL="36000" marR="36000" marT="4763" marB="0" anchor="ctr">
                    <a:solidFill>
                      <a:srgbClr val="F2F2F2"/>
                    </a:solidFill>
                  </a:tcPr>
                </a:tc>
                <a:extLst>
                  <a:ext uri="{0D108BD9-81ED-4DB2-BD59-A6C34878D82A}">
                    <a16:rowId xmlns:a16="http://schemas.microsoft.com/office/drawing/2014/main" val="4246246309"/>
                  </a:ext>
                </a:extLst>
              </a:tr>
              <a:tr h="326340">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La Belle Etoile/Intermarche</a:t>
                      </a:r>
                    </a:p>
                  </a:txBody>
                  <a:tcPr marL="36000" marR="36000" marT="4763" marB="0" anchor="ctr">
                    <a:solidFill>
                      <a:srgbClr val="FFBFBF"/>
                    </a:solidFill>
                  </a:tcPr>
                </a:tc>
                <a:extLst>
                  <a:ext uri="{0D108BD9-81ED-4DB2-BD59-A6C34878D82A}">
                    <a16:rowId xmlns:a16="http://schemas.microsoft.com/office/drawing/2014/main" val="418503086"/>
                  </a:ext>
                </a:extLst>
              </a:tr>
              <a:tr h="326340">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La Vache Qui Rit/Carrefour</a:t>
                      </a:r>
                    </a:p>
                  </a:txBody>
                  <a:tcPr marL="36000" marR="36000" marT="4763" marB="0" anchor="ctr">
                    <a:solidFill>
                      <a:srgbClr val="F2F2F2"/>
                    </a:solidFill>
                  </a:tcPr>
                </a:tc>
                <a:extLst>
                  <a:ext uri="{0D108BD9-81ED-4DB2-BD59-A6C34878D82A}">
                    <a16:rowId xmlns:a16="http://schemas.microsoft.com/office/drawing/2014/main" val="381854689"/>
                  </a:ext>
                </a:extLst>
              </a:tr>
              <a:tr h="32634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Raguin/Intermarche</a:t>
                      </a:r>
                    </a:p>
                  </a:txBody>
                  <a:tcPr marL="36000" marR="36000" marT="4763" marB="0" anchor="ctr">
                    <a:solidFill>
                      <a:srgbClr val="FFBFBF"/>
                    </a:solidFill>
                  </a:tcPr>
                </a:tc>
                <a:extLst>
                  <a:ext uri="{0D108BD9-81ED-4DB2-BD59-A6C34878D82A}">
                    <a16:rowId xmlns:a16="http://schemas.microsoft.com/office/drawing/2014/main" val="362768916"/>
                  </a:ext>
                </a:extLst>
              </a:tr>
              <a:tr h="326340">
                <a:tc>
                  <a:txBody>
                    <a:bodyPr/>
                    <a:lstStyle/>
                    <a:p>
                      <a:pPr algn="ctr">
                        <a:defRPr sz="900">
                          <a:latin typeface="Nexa Book (Body)"/>
                        </a:defRPr>
                      </a:pPr>
                      <a:r>
                        <a:rPr sz="900">
                          <a:latin typeface="Nexa Book (Body)"/>
                        </a:rPr>
                        <a:t>8</a:t>
                      </a:r>
                    </a:p>
                  </a:txBody>
                  <a:tcPr marL="36000" marR="36000" marT="4763" marB="0" anchor="ctr">
                    <a:solidFill>
                      <a:srgbClr val="F2F2F2"/>
                    </a:solidFill>
                  </a:tcPr>
                </a:tc>
                <a:tc>
                  <a:txBody>
                    <a:bodyPr/>
                    <a:lstStyle/>
                    <a:p>
                      <a:pPr algn="l">
                        <a:defRPr sz="900">
                          <a:latin typeface="Nexa Book (Body)"/>
                        </a:defRPr>
                      </a:pPr>
                      <a:r>
                        <a:rPr sz="900">
                          <a:latin typeface="Nexa Book (Body)"/>
                        </a:rPr>
                        <a:t>La Belle Etoile/Carrefour</a:t>
                      </a:r>
                    </a:p>
                  </a:txBody>
                  <a:tcPr marL="36000" marR="36000" marT="4763" marB="0" anchor="ctr">
                    <a:solidFill>
                      <a:srgbClr val="F2F2F2"/>
                    </a:solidFill>
                  </a:tcPr>
                </a:tc>
                <a:extLst>
                  <a:ext uri="{0D108BD9-81ED-4DB2-BD59-A6C34878D82A}">
                    <a16:rowId xmlns:a16="http://schemas.microsoft.com/office/drawing/2014/main" val="1139766948"/>
                  </a:ext>
                </a:extLst>
              </a:tr>
              <a:tr h="326340">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Boursin/Intermarche</a:t>
                      </a:r>
                    </a:p>
                  </a:txBody>
                  <a:tcPr marL="36000" marR="36000" marT="4763" marB="0" anchor="ctr">
                    <a:solidFill>
                      <a:srgbClr val="CBEAE7"/>
                    </a:solidFill>
                  </a:tcPr>
                </a:tc>
                <a:extLst>
                  <a:ext uri="{0D108BD9-81ED-4DB2-BD59-A6C34878D82A}">
                    <a16:rowId xmlns:a16="http://schemas.microsoft.com/office/drawing/2014/main" val="1687090376"/>
                  </a:ext>
                </a:extLst>
              </a:tr>
              <a:tr h="326340">
                <a:tc>
                  <a:txBody>
                    <a:bodyPr/>
                    <a:lstStyle/>
                    <a:p>
                      <a:pPr algn="ctr">
                        <a:defRPr sz="900">
                          <a:latin typeface="Nexa Book (Body)"/>
                        </a:defRPr>
                      </a:pPr>
                      <a:r>
                        <a:rPr sz="900">
                          <a:latin typeface="Nexa Book (Body)"/>
                        </a:rPr>
                        <a:t>10</a:t>
                      </a:r>
                    </a:p>
                  </a:txBody>
                  <a:tcPr marL="36000" marR="36000" marT="4763" marB="0" anchor="ctr">
                    <a:solidFill>
                      <a:srgbClr val="F2F2F2"/>
                    </a:solidFill>
                  </a:tcPr>
                </a:tc>
                <a:tc>
                  <a:txBody>
                    <a:bodyPr/>
                    <a:lstStyle/>
                    <a:p>
                      <a:pPr algn="l">
                        <a:defRPr sz="900">
                          <a:latin typeface="Nexa Book (Body)"/>
                        </a:defRPr>
                      </a:pPr>
                      <a:r>
                        <a:rPr sz="900">
                          <a:latin typeface="Nexa Book (Body)"/>
                        </a:rPr>
                        <a:t>Boursin/Carrefour</a:t>
                      </a:r>
                    </a:p>
                  </a:txBody>
                  <a:tcPr marL="36000" marR="36000" marT="4763" marB="0" anchor="ctr">
                    <a:solidFill>
                      <a:srgbClr val="F2F2F2"/>
                    </a:solidFill>
                  </a:tcPr>
                </a:tc>
                <a:extLst>
                  <a:ext uri="{0D108BD9-81ED-4DB2-BD59-A6C34878D82A}">
                    <a16:rowId xmlns:a16="http://schemas.microsoft.com/office/drawing/2014/main" val="1182192680"/>
                  </a:ext>
                </a:extLst>
              </a:tr>
              <a:tr h="326340">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La Vache Qui Rit/Intermarche</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11/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0939303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029571007"/>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nfant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58974">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La Vache Qui Rit/Carrefour</a:t>
                      </a:r>
                    </a:p>
                  </a:txBody>
                  <a:tcPr marL="36000" marR="36000" marT="4763" marB="0" anchor="ctr">
                    <a:solidFill>
                      <a:srgbClr val="F2F2F2"/>
                    </a:solidFill>
                  </a:tcPr>
                </a:tc>
                <a:extLst>
                  <a:ext uri="{0D108BD9-81ED-4DB2-BD59-A6C34878D82A}">
                    <a16:rowId xmlns:a16="http://schemas.microsoft.com/office/drawing/2014/main" val="264026324"/>
                  </a:ext>
                </a:extLst>
              </a:tr>
              <a:tr h="358974">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Mini Babybel/Carrefour</a:t>
                      </a:r>
                    </a:p>
                  </a:txBody>
                  <a:tcPr marL="36000" marR="36000" marT="4763" marB="0" anchor="ctr">
                    <a:solidFill>
                      <a:srgbClr val="F2F2F2"/>
                    </a:solidFill>
                  </a:tcPr>
                </a:tc>
                <a:extLst>
                  <a:ext uri="{0D108BD9-81ED-4DB2-BD59-A6C34878D82A}">
                    <a16:rowId xmlns:a16="http://schemas.microsoft.com/office/drawing/2014/main" val="613793393"/>
                  </a:ext>
                </a:extLst>
              </a:tr>
              <a:tr h="358974">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Intermarche</a:t>
                      </a:r>
                    </a:p>
                  </a:txBody>
                  <a:tcPr marL="36000" marR="36000" marT="4763" marB="0" anchor="ctr">
                    <a:solidFill>
                      <a:srgbClr val="CBEAE7"/>
                    </a:solidFill>
                  </a:tcPr>
                </a:tc>
                <a:extLst>
                  <a:ext uri="{0D108BD9-81ED-4DB2-BD59-A6C34878D82A}">
                    <a16:rowId xmlns:a16="http://schemas.microsoft.com/office/drawing/2014/main" val="4246246309"/>
                  </a:ext>
                </a:extLst>
              </a:tr>
              <a:tr h="358974">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Kiri/Carrefour</a:t>
                      </a:r>
                    </a:p>
                  </a:txBody>
                  <a:tcPr marL="36000" marR="36000" marT="4763" marB="0" anchor="ctr">
                    <a:solidFill>
                      <a:srgbClr val="CBEAE7"/>
                    </a:solidFill>
                  </a:tcPr>
                </a:tc>
                <a:extLst>
                  <a:ext uri="{0D108BD9-81ED-4DB2-BD59-A6C34878D82A}">
                    <a16:rowId xmlns:a16="http://schemas.microsoft.com/office/drawing/2014/main" val="418503086"/>
                  </a:ext>
                </a:extLst>
              </a:tr>
              <a:tr h="358974">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Mini Babybel/Intermarche</a:t>
                      </a:r>
                    </a:p>
                  </a:txBody>
                  <a:tcPr marL="36000" marR="36000" marT="4763" marB="0" anchor="ctr">
                    <a:solidFill>
                      <a:srgbClr val="FFBFBF"/>
                    </a:solidFill>
                  </a:tcPr>
                </a:tc>
                <a:extLst>
                  <a:ext uri="{0D108BD9-81ED-4DB2-BD59-A6C34878D82A}">
                    <a16:rowId xmlns:a16="http://schemas.microsoft.com/office/drawing/2014/main" val="381854689"/>
                  </a:ext>
                </a:extLst>
              </a:tr>
              <a:tr h="358974">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Kiri/Intermarche</a:t>
                      </a:r>
                    </a:p>
                  </a:txBody>
                  <a:tcPr marL="36000" marR="36000" marT="4763" marB="0" anchor="ctr">
                    <a:solidFill>
                      <a:srgbClr val="CBEAE7"/>
                    </a:solidFill>
                  </a:tcPr>
                </a:tc>
                <a:extLst>
                  <a:ext uri="{0D108BD9-81ED-4DB2-BD59-A6C34878D82A}">
                    <a16:rowId xmlns:a16="http://schemas.microsoft.com/office/drawing/2014/main" val="362768916"/>
                  </a:ext>
                </a:extLst>
              </a:tr>
              <a:tr h="358974">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Carrefour</a:t>
                      </a:r>
                    </a:p>
                  </a:txBody>
                  <a:tcPr marL="36000" marR="36000" marT="4763" marB="0" anchor="ctr">
                    <a:solidFill>
                      <a:srgbClr val="CBEAE7"/>
                    </a:solidFill>
                  </a:tcPr>
                </a:tc>
                <a:extLst>
                  <a:ext uri="{0D108BD9-81ED-4DB2-BD59-A6C34878D82A}">
                    <a16:rowId xmlns:a16="http://schemas.microsoft.com/office/drawing/2014/main" val="1139766948"/>
                  </a:ext>
                </a:extLst>
              </a:tr>
              <a:tr h="358974">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Intermarche</a:t>
                      </a:r>
                    </a:p>
                  </a:txBody>
                  <a:tcPr marL="36000" marR="36000" marT="4763" marB="0" anchor="ctr">
                    <a:solidFill>
                      <a:srgbClr val="FFBFBF"/>
                    </a:solidFill>
                  </a:tcPr>
                </a:tc>
                <a:extLst>
                  <a:ext uri="{0D108BD9-81ED-4DB2-BD59-A6C34878D82A}">
                    <a16:rowId xmlns:a16="http://schemas.microsoft.com/office/drawing/2014/main" val="1687090376"/>
                  </a:ext>
                </a:extLst>
              </a:tr>
              <a:tr h="358974">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Ficello/Carrefour</a:t>
                      </a:r>
                    </a:p>
                  </a:txBody>
                  <a:tcPr marL="36000" marR="36000" marT="4763" marB="0" anchor="ctr">
                    <a:solidFill>
                      <a:srgbClr val="CBEAE7"/>
                    </a:solidFill>
                  </a:tcPr>
                </a:tc>
                <a:extLst>
                  <a:ext uri="{0D108BD9-81ED-4DB2-BD59-A6C34878D82A}">
                    <a16:rowId xmlns:a16="http://schemas.microsoft.com/office/drawing/2014/main" val="1182192680"/>
                  </a:ext>
                </a:extLst>
              </a:tr>
              <a:tr h="358974">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Ficello/Intermarche</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11/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9599126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48437906"/>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Frais A Tartiner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29"/>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76133">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St Moret/Carrefour</a:t>
                      </a:r>
                    </a:p>
                  </a:txBody>
                  <a:tcPr marL="36000" marR="36000" marT="4763" marB="0" anchor="ctr">
                    <a:solidFill>
                      <a:srgbClr val="CBEAE7"/>
                    </a:solidFill>
                  </a:tcPr>
                </a:tc>
                <a:extLst>
                  <a:ext uri="{0D108BD9-81ED-4DB2-BD59-A6C34878D82A}">
                    <a16:rowId xmlns:a16="http://schemas.microsoft.com/office/drawing/2014/main" val="3518559538"/>
                  </a:ext>
                </a:extLst>
              </a:tr>
              <a:tr h="276133">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St Moret/Intermarche</a:t>
                      </a:r>
                    </a:p>
                  </a:txBody>
                  <a:tcPr marL="36000" marR="36000" marT="4763" marB="0" anchor="ctr">
                    <a:solidFill>
                      <a:srgbClr val="CBEAE7"/>
                    </a:solidFill>
                  </a:tcPr>
                </a:tc>
                <a:extLst>
                  <a:ext uri="{0D108BD9-81ED-4DB2-BD59-A6C34878D82A}">
                    <a16:rowId xmlns:a16="http://schemas.microsoft.com/office/drawing/2014/main" val="3886752891"/>
                  </a:ext>
                </a:extLst>
              </a:tr>
              <a:tr h="276133">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Carrefour</a:t>
                      </a:r>
                    </a:p>
                  </a:txBody>
                  <a:tcPr marL="36000" marR="36000" marT="4763" marB="0" anchor="ctr">
                    <a:solidFill>
                      <a:srgbClr val="FFBFBF"/>
                    </a:solidFill>
                  </a:tcPr>
                </a:tc>
                <a:extLst>
                  <a:ext uri="{0D108BD9-81ED-4DB2-BD59-A6C34878D82A}">
                    <a16:rowId xmlns:a16="http://schemas.microsoft.com/office/drawing/2014/main" val="3477306869"/>
                  </a:ext>
                </a:extLst>
              </a:tr>
              <a:tr h="276133">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Paysan Breton/Carrefour</a:t>
                      </a:r>
                    </a:p>
                  </a:txBody>
                  <a:tcPr marL="36000" marR="36000" marT="4763" marB="0" anchor="ctr">
                    <a:solidFill>
                      <a:srgbClr val="CBEAE7"/>
                    </a:solidFill>
                  </a:tcPr>
                </a:tc>
                <a:extLst>
                  <a:ext uri="{0D108BD9-81ED-4DB2-BD59-A6C34878D82A}">
                    <a16:rowId xmlns:a16="http://schemas.microsoft.com/office/drawing/2014/main" val="264026324"/>
                  </a:ext>
                </a:extLst>
              </a:tr>
              <a:tr h="276133">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Intermarche</a:t>
                      </a:r>
                    </a:p>
                  </a:txBody>
                  <a:tcPr marL="36000" marR="36000" marT="4763" marB="0" anchor="ctr">
                    <a:solidFill>
                      <a:srgbClr val="FFBFBF"/>
                    </a:solidFill>
                  </a:tcPr>
                </a:tc>
                <a:extLst>
                  <a:ext uri="{0D108BD9-81ED-4DB2-BD59-A6C34878D82A}">
                    <a16:rowId xmlns:a16="http://schemas.microsoft.com/office/drawing/2014/main" val="613793393"/>
                  </a:ext>
                </a:extLst>
              </a:tr>
              <a:tr h="276133">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Boursin/Intermarche</a:t>
                      </a:r>
                    </a:p>
                  </a:txBody>
                  <a:tcPr marL="36000" marR="36000" marT="4763" marB="0" anchor="ctr">
                    <a:solidFill>
                      <a:srgbClr val="FFBFBF"/>
                    </a:solidFill>
                  </a:tcPr>
                </a:tc>
                <a:extLst>
                  <a:ext uri="{0D108BD9-81ED-4DB2-BD59-A6C34878D82A}">
                    <a16:rowId xmlns:a16="http://schemas.microsoft.com/office/drawing/2014/main" val="4246246309"/>
                  </a:ext>
                </a:extLst>
              </a:tr>
              <a:tr h="276133">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Tartare/Carrefour</a:t>
                      </a:r>
                    </a:p>
                  </a:txBody>
                  <a:tcPr marL="36000" marR="36000" marT="4763" marB="0" anchor="ctr">
                    <a:solidFill>
                      <a:srgbClr val="FFBFBF"/>
                    </a:solidFill>
                  </a:tcPr>
                </a:tc>
                <a:extLst>
                  <a:ext uri="{0D108BD9-81ED-4DB2-BD59-A6C34878D82A}">
                    <a16:rowId xmlns:a16="http://schemas.microsoft.com/office/drawing/2014/main" val="418503086"/>
                  </a:ext>
                </a:extLst>
              </a:tr>
              <a:tr h="276133">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Boursin/Carrefour</a:t>
                      </a:r>
                    </a:p>
                  </a:txBody>
                  <a:tcPr marL="36000" marR="36000" marT="4763" marB="0" anchor="ctr">
                    <a:solidFill>
                      <a:srgbClr val="FFBFBF"/>
                    </a:solidFill>
                  </a:tcPr>
                </a:tc>
                <a:extLst>
                  <a:ext uri="{0D108BD9-81ED-4DB2-BD59-A6C34878D82A}">
                    <a16:rowId xmlns:a16="http://schemas.microsoft.com/office/drawing/2014/main" val="381854689"/>
                  </a:ext>
                </a:extLst>
              </a:tr>
              <a:tr h="276133">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Paysan Breton/Intermarche</a:t>
                      </a:r>
                    </a:p>
                  </a:txBody>
                  <a:tcPr marL="36000" marR="36000" marT="4763" marB="0" anchor="ctr">
                    <a:solidFill>
                      <a:srgbClr val="CBEAE7"/>
                    </a:solidFill>
                  </a:tcPr>
                </a:tc>
                <a:extLst>
                  <a:ext uri="{0D108BD9-81ED-4DB2-BD59-A6C34878D82A}">
                    <a16:rowId xmlns:a16="http://schemas.microsoft.com/office/drawing/2014/main" val="362768916"/>
                  </a:ext>
                </a:extLst>
              </a:tr>
              <a:tr h="276133">
                <a:tc>
                  <a:txBody>
                    <a:bodyPr/>
                    <a:lstStyle/>
                    <a:p>
                      <a:pPr algn="ctr">
                        <a:defRPr sz="900">
                          <a:latin typeface="Nexa Book (Body)"/>
                        </a:defRPr>
                      </a:pPr>
                      <a:r>
                        <a:rPr sz="900">
                          <a:latin typeface="Nexa Book (Body)"/>
                        </a:rPr>
                        <a:t>10</a:t>
                      </a:r>
                    </a:p>
                  </a:txBody>
                  <a:tcPr marL="36000" marR="36000" marT="4763" marB="0" anchor="ctr">
                    <a:solidFill>
                      <a:srgbClr val="F2F2F2"/>
                    </a:solidFill>
                  </a:tcPr>
                </a:tc>
                <a:tc>
                  <a:txBody>
                    <a:bodyPr/>
                    <a:lstStyle/>
                    <a:p>
                      <a:pPr algn="l">
                        <a:defRPr sz="900">
                          <a:latin typeface="Nexa Book (Body)"/>
                        </a:defRPr>
                      </a:pPr>
                      <a:r>
                        <a:rPr sz="900">
                          <a:latin typeface="Nexa Book (Body)"/>
                        </a:rPr>
                        <a:t>Tartare/Intermarche</a:t>
                      </a:r>
                    </a:p>
                  </a:txBody>
                  <a:tcPr marL="36000" marR="36000" marT="4763" marB="0" anchor="ctr">
                    <a:solidFill>
                      <a:srgbClr val="F2F2F2"/>
                    </a:solidFill>
                  </a:tcPr>
                </a:tc>
                <a:extLst>
                  <a:ext uri="{0D108BD9-81ED-4DB2-BD59-A6C34878D82A}">
                    <a16:rowId xmlns:a16="http://schemas.microsoft.com/office/drawing/2014/main" val="1139766948"/>
                  </a:ext>
                </a:extLst>
              </a:tr>
              <a:tr h="276133">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Kiri/Carrefour</a:t>
                      </a:r>
                    </a:p>
                  </a:txBody>
                  <a:tcPr marL="36000" marR="36000" marT="4763" marB="0" anchor="ctr">
                    <a:solidFill>
                      <a:srgbClr val="FFBFBF"/>
                    </a:solidFill>
                  </a:tcPr>
                </a:tc>
                <a:extLst>
                  <a:ext uri="{0D108BD9-81ED-4DB2-BD59-A6C34878D82A}">
                    <a16:rowId xmlns:a16="http://schemas.microsoft.com/office/drawing/2014/main" val="1687090376"/>
                  </a:ext>
                </a:extLst>
              </a:tr>
              <a:tr h="276133">
                <a:tc>
                  <a:txBody>
                    <a:bodyPr/>
                    <a:lstStyle/>
                    <a:p>
                      <a:pPr algn="ctr">
                        <a:defRPr sz="900">
                          <a:latin typeface="Nexa Book (Body)"/>
                        </a:defRPr>
                      </a:pPr>
                      <a:r>
                        <a:rPr sz="900">
                          <a:latin typeface="Nexa Book (Body)"/>
                        </a:rPr>
                        <a:t>12</a:t>
                      </a:r>
                    </a:p>
                  </a:txBody>
                  <a:tcPr marL="36000" marR="36000" marT="4763" marB="0" anchor="ctr">
                    <a:solidFill>
                      <a:srgbClr val="F2F2F2"/>
                    </a:solidFill>
                  </a:tcPr>
                </a:tc>
                <a:tc>
                  <a:txBody>
                    <a:bodyPr/>
                    <a:lstStyle/>
                    <a:p>
                      <a:pPr algn="l">
                        <a:defRPr sz="900">
                          <a:latin typeface="Nexa Book (Body)"/>
                        </a:defRPr>
                      </a:pPr>
                      <a:r>
                        <a:rPr sz="900">
                          <a:latin typeface="Nexa Book (Body)"/>
                        </a:rPr>
                        <a:t>Kiri/Intermarche</a:t>
                      </a:r>
                    </a:p>
                  </a:txBody>
                  <a:tcPr marL="36000" marR="36000" marT="4763" marB="0" anchor="ctr">
                    <a:solidFill>
                      <a:srgbClr val="F2F2F2"/>
                    </a:solidFill>
                  </a:tcPr>
                </a:tc>
                <a:extLst>
                  <a:ext uri="{0D108BD9-81ED-4DB2-BD59-A6C34878D82A}">
                    <a16:rowId xmlns:a16="http://schemas.microsoft.com/office/drawing/2014/main" val="1182192680"/>
                  </a:ext>
                </a:extLst>
              </a:tr>
              <a:tr h="276133">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Carrefour</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11/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436751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3.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48</TotalTime>
  <Words>16785</Words>
  <Application>Microsoft Office PowerPoint</Application>
  <PresentationFormat>On-screen Show (16:9)</PresentationFormat>
  <Paragraphs>7774</Paragraphs>
  <Slides>104</Slides>
  <Notes>10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04</vt:i4>
      </vt:variant>
    </vt:vector>
  </HeadingPairs>
  <TitlesOfParts>
    <vt:vector size="115" baseType="lpstr">
      <vt:lpstr>Aptos</vt:lpstr>
      <vt:lpstr>Arial</vt:lpstr>
      <vt:lpstr>Calibri</vt:lpstr>
      <vt:lpstr>Nexa</vt:lpstr>
      <vt:lpstr>Nexa Bold</vt:lpstr>
      <vt:lpstr>Nexa Book</vt:lpstr>
      <vt:lpstr>Nexa Book (Body)</vt:lpstr>
      <vt:lpstr>Nexa Book Italic</vt:lpstr>
      <vt:lpstr>Open Sans</vt:lpstr>
      <vt:lpstr>PricingOne Light Template Oct 2024</vt:lpstr>
      <vt:lpstr>think-cell Slide</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Aleaa SALAH</cp:lastModifiedBy>
  <cp:revision>42</cp:revision>
  <dcterms:created xsi:type="dcterms:W3CDTF">2024-07-05T07:54:38Z</dcterms:created>
  <dcterms:modified xsi:type="dcterms:W3CDTF">2025-09-11T08:4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